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ags/tag3.xml" ContentType="application/vnd.openxmlformats-officedocument.presentationml.tags+xml"/>
  <Override PartName="/ppt/embeddings/oleObject3.bin" ContentType="application/vnd.openxmlformats-officedocument.oleObject"/>
  <Override PartName="/ppt/tags/tag4.xml" ContentType="application/vnd.openxmlformats-officedocument.presentationml.tags+xml"/>
  <Override PartName="/ppt/embeddings/oleObject4.bin" ContentType="application/vnd.openxmlformats-officedocument.oleObject"/>
  <Override PartName="/ppt/tags/tag5.xml" ContentType="application/vnd.openxmlformats-officedocument.presentationml.tags+xml"/>
  <Override PartName="/ppt/embeddings/oleObject5.bin" ContentType="application/vnd.openxmlformats-officedocument.oleObject"/>
  <Override PartName="/ppt/tags/tag6.xml" ContentType="application/vnd.openxmlformats-officedocument.presentationml.tags+xml"/>
  <Override PartName="/ppt/embeddings/oleObject6.bin" ContentType="application/vnd.openxmlformats-officedocument.oleObject"/>
  <Override PartName="/ppt/tags/tag7.xml" ContentType="application/vnd.openxmlformats-officedocument.presentationml.tags+xml"/>
  <Override PartName="/ppt/embeddings/oleObject7.bin" ContentType="application/vnd.openxmlformats-officedocument.oleObject"/>
  <Override PartName="/ppt/tags/tag8.xml" ContentType="application/vnd.openxmlformats-officedocument.presentationml.tags+xml"/>
  <Override PartName="/ppt/embeddings/oleObject8.bin" ContentType="application/vnd.openxmlformats-officedocument.oleObject"/>
  <Override PartName="/ppt/tags/tag9.xml" ContentType="application/vnd.openxmlformats-officedocument.presentationml.tags+xml"/>
  <Override PartName="/ppt/embeddings/oleObject9.bin" ContentType="application/vnd.openxmlformats-officedocument.oleObject"/>
  <Override PartName="/ppt/tags/tag10.xml" ContentType="application/vnd.openxmlformats-officedocument.presentationml.tags+xml"/>
  <Override PartName="/ppt/embeddings/oleObject10.bin" ContentType="application/vnd.openxmlformats-officedocument.oleObject"/>
  <Override PartName="/ppt/tags/tag11.xml" ContentType="application/vnd.openxmlformats-officedocument.presentationml.tags+xml"/>
  <Override PartName="/ppt/embeddings/oleObject11.bin" ContentType="application/vnd.openxmlformats-officedocument.oleObject"/>
  <Override PartName="/ppt/tags/tag12.xml" ContentType="application/vnd.openxmlformats-officedocument.presentationml.tags+xml"/>
  <Override PartName="/ppt/embeddings/oleObject12.bin" ContentType="application/vnd.openxmlformats-officedocument.oleObject"/>
  <Override PartName="/ppt/tags/tag13.xml" ContentType="application/vnd.openxmlformats-officedocument.presentationml.tags+xml"/>
  <Override PartName="/ppt/embeddings/oleObject13.bin" ContentType="application/vnd.openxmlformats-officedocument.oleObject"/>
  <Override PartName="/ppt/tags/tag14.xml" ContentType="application/vnd.openxmlformats-officedocument.presentationml.tags+xml"/>
  <Override PartName="/ppt/embeddings/oleObject14.bin" ContentType="application/vnd.openxmlformats-officedocument.oleObject"/>
  <Override PartName="/ppt/tags/tag15.xml" ContentType="application/vnd.openxmlformats-officedocument.presentationml.tags+xml"/>
  <Override PartName="/ppt/embeddings/oleObject15.bin" ContentType="application/vnd.openxmlformats-officedocument.oleObject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embeddings/oleObject16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embeddings/oleObject17.bin" ContentType="application/vnd.openxmlformats-officedocument.oleObject"/>
  <Override PartName="/ppt/theme/theme5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6" Type="http://schemas.microsoft.com/office/2020/02/relationships/classificationlabels" Target="docMetadata/LabelInfo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2" r:id="rId5"/>
    <p:sldMasterId id="2147483667" r:id="rId6"/>
    <p:sldMasterId id="2147483739" r:id="rId7"/>
  </p:sldMasterIdLst>
  <p:notesMasterIdLst>
    <p:notesMasterId r:id="rId17"/>
  </p:notesMasterIdLst>
  <p:sldIdLst>
    <p:sldId id="396" r:id="rId8"/>
    <p:sldId id="397" r:id="rId9"/>
    <p:sldId id="382" r:id="rId10"/>
    <p:sldId id="383" r:id="rId11"/>
    <p:sldId id="387" r:id="rId12"/>
    <p:sldId id="384" r:id="rId13"/>
    <p:sldId id="385" r:id="rId14"/>
    <p:sldId id="386" r:id="rId15"/>
    <p:sldId id="398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88" userDrawn="1">
          <p15:clr>
            <a:srgbClr val="A4A3A4"/>
          </p15:clr>
        </p15:guide>
        <p15:guide id="2" pos="240" userDrawn="1">
          <p15:clr>
            <a:srgbClr val="A4A3A4"/>
          </p15:clr>
        </p15:guide>
        <p15:guide id="3" orient="horz" pos="4056" userDrawn="1">
          <p15:clr>
            <a:srgbClr val="A4A3A4"/>
          </p15:clr>
        </p15:guide>
        <p15:guide id="4" pos="7440" userDrawn="1">
          <p15:clr>
            <a:srgbClr val="A4A3A4"/>
          </p15:clr>
        </p15:guide>
        <p15:guide id="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059" autoAdjust="0"/>
  </p:normalViewPr>
  <p:slideViewPr>
    <p:cSldViewPr snapToGrid="0" showGuides="1">
      <p:cViewPr varScale="1">
        <p:scale>
          <a:sx n="122" d="100"/>
          <a:sy n="122" d="100"/>
        </p:scale>
        <p:origin x="-120" y="-304"/>
      </p:cViewPr>
      <p:guideLst>
        <p:guide orient="horz" pos="288"/>
        <p:guide orient="horz" pos="4056"/>
        <p:guide pos="240"/>
        <p:guide pos="7440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2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3.xml"/><Relationship Id="rId11" Type="http://schemas.openxmlformats.org/officeDocument/2006/relationships/slide" Target="slides/slide4.xml"/><Relationship Id="rId12" Type="http://schemas.openxmlformats.org/officeDocument/2006/relationships/slide" Target="slides/slide5.xml"/><Relationship Id="rId13" Type="http://schemas.openxmlformats.org/officeDocument/2006/relationships/slide" Target="slides/slide6.xml"/><Relationship Id="rId14" Type="http://schemas.openxmlformats.org/officeDocument/2006/relationships/slide" Target="slides/slide7.xml"/><Relationship Id="rId15" Type="http://schemas.openxmlformats.org/officeDocument/2006/relationships/slide" Target="slides/slide8.xml"/><Relationship Id="rId16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18" Type="http://schemas.openxmlformats.org/officeDocument/2006/relationships/printerSettings" Target="printerSettings/printerSettings1.bin"/><Relationship Id="rId19" Type="http://schemas.openxmlformats.org/officeDocument/2006/relationships/presProps" Target="presProps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5456A5-B957-4DB9-9EC2-B7DCF641AC93}" type="datetimeFigureOut">
              <a:rPr lang="en-US" smtClean="0"/>
              <a:t>2/23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31A25C-2A62-4006-B3EF-AFD828CE06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066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948597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3.emf"/><Relationship Id="rId6" Type="http://schemas.openxmlformats.org/officeDocument/2006/relationships/image" Target="../media/image5.png"/><Relationship Id="rId1" Type="http://schemas.openxmlformats.org/officeDocument/2006/relationships/vmlDrawing" Target="../drawings/vmlDrawing13.vml"/><Relationship Id="rId2" Type="http://schemas.openxmlformats.org/officeDocument/2006/relationships/tags" Target="../tags/tag1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4.vml"/><Relationship Id="rId2" Type="http://schemas.openxmlformats.org/officeDocument/2006/relationships/tags" Target="../tags/tag1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.emf"/><Relationship Id="rId6" Type="http://schemas.openxmlformats.org/officeDocument/2006/relationships/image" Target="../media/image6.jpeg"/><Relationship Id="rId1" Type="http://schemas.openxmlformats.org/officeDocument/2006/relationships/vmlDrawing" Target="../drawings/vmlDrawing15.vml"/><Relationship Id="rId2" Type="http://schemas.openxmlformats.org/officeDocument/2006/relationships/tags" Target="../tags/tag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8.png"/><Relationship Id="rId3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2.png"/><Relationship Id="rId3" Type="http://schemas.openxmlformats.org/officeDocument/2006/relationships/image" Target="../media/image13.png"/></Relationships>
</file>

<file path=ppt/slideLayouts/_rels/slideLayout36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7.bin"/><Relationship Id="rId12" Type="http://schemas.openxmlformats.org/officeDocument/2006/relationships/image" Target="../media/image14.emf"/><Relationship Id="rId1" Type="http://schemas.openxmlformats.org/officeDocument/2006/relationships/vmlDrawing" Target="../drawings/vmlDrawing17.vml"/><Relationship Id="rId2" Type="http://schemas.openxmlformats.org/officeDocument/2006/relationships/tags" Target="../tags/tag17.xml"/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tags" Target="../tags/tag20.xml"/><Relationship Id="rId6" Type="http://schemas.openxmlformats.org/officeDocument/2006/relationships/tags" Target="../tags/tag21.xml"/><Relationship Id="rId7" Type="http://schemas.openxmlformats.org/officeDocument/2006/relationships/tags" Target="../tags/tag22.xml"/><Relationship Id="rId8" Type="http://schemas.openxmlformats.org/officeDocument/2006/relationships/tags" Target="../tags/tag23.xml"/><Relationship Id="rId9" Type="http://schemas.openxmlformats.org/officeDocument/2006/relationships/tags" Target="../tags/tag24.xml"/><Relationship Id="rId10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58328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,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7705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9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182875" tIns="137157" anchor="ctr">
            <a:normAutofit/>
          </a:bodyPr>
          <a:lstStyle>
            <a:lvl1pPr algn="l">
              <a:defRPr sz="4313" spc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lIns="182875" tIns="137157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961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900" baseline="0">
                <a:latin typeface="Segoe Pro Light"/>
              </a:defRPr>
            </a:lvl2pPr>
            <a:lvl3pPr marL="0" indent="0">
              <a:buFontTx/>
              <a:buNone/>
              <a:defRPr sz="1900" baseline="0">
                <a:latin typeface="Segoe Pro Light"/>
              </a:defRPr>
            </a:lvl3pPr>
            <a:lvl4pPr marL="0" indent="0">
              <a:buFontTx/>
              <a:buNone/>
              <a:defRPr sz="1900" baseline="0">
                <a:latin typeface="Segoe Pro Light"/>
              </a:defRPr>
            </a:lvl4pPr>
            <a:lvl5pPr marL="0" indent="0">
              <a:buFontTx/>
              <a:buNone/>
              <a:defRPr sz="1900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4" y="1"/>
            <a:ext cx="1524000" cy="6771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9902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color background,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wrap="square" lIns="182875" tIns="137157" rIns="146300" bIns="91438" rtlCol="0" anchor="ctr">
            <a:normAutofit/>
          </a:bodyPr>
          <a:lstStyle>
            <a:lvl1pPr>
              <a:defRPr lang="en-US" sz="4313" spc="0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wrap="square" lIns="182875" tIns="137157" rIns="146300" bIns="91438" rtlCol="0">
            <a:normAutofit/>
          </a:bodyPr>
          <a:lstStyle>
            <a:lvl1pPr>
              <a:defRPr lang="en-US" sz="1961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dirty="0"/>
              <a:t>Click to edit slide conten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4" y="1"/>
            <a:ext cx="1524000" cy="6771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85417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6"/>
          <p:cNvSpPr txBox="1">
            <a:spLocks/>
          </p:cNvSpPr>
          <p:nvPr userDrawn="1"/>
        </p:nvSpPr>
        <p:spPr>
          <a:xfrm>
            <a:off x="-10160" y="0"/>
            <a:ext cx="12202160" cy="68580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243731" tIns="182798" rIns="121866" bIns="60932" rtlCol="0" anchor="t" anchorCtr="0">
            <a:normAutofit/>
          </a:bodyPr>
          <a:lstStyle>
            <a:lvl1pPr algn="l" eaLnBrk="1" hangingPunct="1">
              <a:defRPr sz="3000" kern="800">
                <a:solidFill>
                  <a:srgbClr val="000000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defTabSz="913829"/>
            <a:endParaRPr lang="en-US" sz="4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182875">
            <a:noAutofit/>
          </a:bodyPr>
          <a:lstStyle>
            <a:lvl1pPr>
              <a:defRPr sz="5294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6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14168"/>
            <a:endParaRPr lang="en-US" sz="1900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/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09602" y="1803404"/>
            <a:ext cx="11226800" cy="661703"/>
          </a:xfrm>
          <a:prstGeom prst="rect">
            <a:avLst/>
          </a:prstGeom>
          <a:noFill/>
        </p:spPr>
        <p:txBody>
          <a:bodyPr wrap="square" lIns="243731" tIns="45712" rIns="91425" bIns="45712" rtlCol="0">
            <a:spAutoFit/>
          </a:bodyPr>
          <a:lstStyle/>
          <a:p>
            <a:pPr defTabSz="609204"/>
            <a:endParaRPr lang="en-US" sz="3700" kern="800" dirty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09602" y="1803406"/>
            <a:ext cx="11226800" cy="4417484"/>
          </a:xfrm>
        </p:spPr>
        <p:txBody>
          <a:bodyPr>
            <a:normAutofit/>
          </a:bodyPr>
          <a:lstStyle>
            <a:lvl1pPr>
              <a:defRPr sz="4313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2353">
                <a:solidFill>
                  <a:schemeClr val="bg1"/>
                </a:solidFill>
              </a:defRPr>
            </a:lvl6pPr>
            <a:lvl7pPr>
              <a:defRPr sz="2353">
                <a:solidFill>
                  <a:schemeClr val="bg1"/>
                </a:solidFill>
              </a:defRPr>
            </a:lvl7pPr>
            <a:lvl8pPr>
              <a:defRPr sz="2353">
                <a:solidFill>
                  <a:schemeClr val="bg1"/>
                </a:solidFill>
              </a:defRPr>
            </a:lvl8pPr>
            <a:lvl9pPr>
              <a:defRPr sz="2353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5"/>
            <a:r>
              <a:rPr lang="en-US" dirty="0"/>
              <a:t>Second level</a:t>
            </a:r>
          </a:p>
          <a:p>
            <a:pPr lvl="6"/>
            <a:r>
              <a:rPr lang="en-US" dirty="0"/>
              <a:t>Third level</a:t>
            </a:r>
          </a:p>
          <a:p>
            <a:pPr lvl="7"/>
            <a:r>
              <a:rPr lang="en-US" dirty="0"/>
              <a:t>Fourth level</a:t>
            </a:r>
          </a:p>
          <a:p>
            <a:pPr lvl="8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39988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es with text and backgroun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12192000" cy="677108"/>
          </a:xfrm>
        </p:spPr>
        <p:txBody>
          <a:bodyPr/>
          <a:lstStyle>
            <a:lvl1pPr>
              <a:defRPr>
                <a:solidFill>
                  <a:srgbClr val="3F3F3F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lIns="274313" anchor="ctr"/>
          <a:lstStyle>
            <a:lvl1pPr>
              <a:defRPr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6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68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>
              <a:alpha val="92000"/>
            </a:schemeClr>
          </a:solidFill>
        </p:spPr>
        <p:txBody>
          <a:bodyPr>
            <a:noAutofit/>
          </a:bodyPr>
          <a:lstStyle>
            <a:lvl1pPr marL="336072" indent="-336072">
              <a:buClr>
                <a:schemeClr val="bg1"/>
              </a:buClr>
              <a:defRPr lang="en-US" sz="2353" kern="1200" spc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marL="336072" marR="0" lvl="0" indent="-336072" algn="l" defTabSz="9141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7315200" y="3657600"/>
            <a:ext cx="2438400" cy="2438400"/>
          </a:xfrm>
          <a:solidFill>
            <a:schemeClr val="accent5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9753600" y="3657600"/>
            <a:ext cx="2438400" cy="2438400"/>
          </a:xfrm>
          <a:solidFill>
            <a:srgbClr val="99CCFF">
              <a:alpha val="89000"/>
            </a:srgb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403862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tiles text &amp; list/paragraph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577223" y="1219201"/>
            <a:ext cx="9505839" cy="23109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 sz="2400"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vert="horz" wrap="square" lIns="274313" tIns="91438" rIns="146300" bIns="91438" rtlCol="0" anchor="ctr">
            <a:noAutofit/>
          </a:bodyPr>
          <a:lstStyle>
            <a:lvl1pPr>
              <a:defRPr lang="en-US" sz="3137" spc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315200" y="3657600"/>
            <a:ext cx="2438400" cy="24384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sz="2353">
                <a:solidFill>
                  <a:schemeClr val="tx1"/>
                </a:solidFill>
                <a:latin typeface="+mn-lt"/>
              </a:defRPr>
            </a:lvl1pPr>
            <a:lvl2pPr>
              <a:defRPr sz="1568">
                <a:solidFill>
                  <a:schemeClr val="tx1"/>
                </a:solidFill>
                <a:latin typeface="+mn-lt"/>
              </a:defRPr>
            </a:lvl2pPr>
            <a:lvl3pPr>
              <a:defRPr sz="1568">
                <a:solidFill>
                  <a:schemeClr val="tx1"/>
                </a:solidFill>
                <a:latin typeface="+mn-lt"/>
              </a:defRPr>
            </a:lvl3pPr>
            <a:lvl4pPr>
              <a:defRPr sz="1176">
                <a:solidFill>
                  <a:schemeClr val="tx1"/>
                </a:solidFill>
                <a:latin typeface="+mn-lt"/>
              </a:defRPr>
            </a:lvl4pPr>
            <a:lvl5pPr>
              <a:defRPr sz="1176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7600"/>
            <a:ext cx="2438400" cy="24384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188681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tiles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vert="horz" wrap="square" lIns="274313" tIns="91438" rIns="146300" bIns="91438" rtlCol="0" anchor="ctr">
            <a:noAutofit/>
          </a:bodyPr>
          <a:lstStyle>
            <a:lvl1pPr>
              <a:defRPr lang="en-US" spc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315200" y="3657600"/>
            <a:ext cx="2438400" cy="24384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sz="2353">
                <a:solidFill>
                  <a:schemeClr val="tx1"/>
                </a:solidFill>
                <a:latin typeface="+mn-lt"/>
              </a:defRPr>
            </a:lvl1pPr>
            <a:lvl2pPr>
              <a:defRPr sz="1568">
                <a:solidFill>
                  <a:schemeClr val="tx1"/>
                </a:solidFill>
                <a:latin typeface="+mn-lt"/>
              </a:defRPr>
            </a:lvl2pPr>
            <a:lvl3pPr>
              <a:defRPr sz="1568">
                <a:solidFill>
                  <a:schemeClr val="tx1"/>
                </a:solidFill>
                <a:latin typeface="+mn-lt"/>
              </a:defRPr>
            </a:lvl3pPr>
            <a:lvl4pPr>
              <a:defRPr sz="1176">
                <a:solidFill>
                  <a:schemeClr val="tx1"/>
                </a:solidFill>
                <a:latin typeface="+mn-lt"/>
              </a:defRPr>
            </a:lvl4pPr>
            <a:lvl5pPr>
              <a:defRPr sz="1176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7600"/>
            <a:ext cx="2438400" cy="24384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995898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solidFill>
          <a:srgbClr val="008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320" y="2075688"/>
            <a:ext cx="9857232" cy="1801368"/>
          </a:xfrm>
        </p:spPr>
        <p:txBody>
          <a:bodyPr anchor="t"/>
          <a:lstStyle>
            <a:lvl1pPr algn="l"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IN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557" y="5865420"/>
            <a:ext cx="1938810" cy="71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68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320" y="2075688"/>
            <a:ext cx="9857232" cy="1801368"/>
          </a:xfrm>
        </p:spPr>
        <p:txBody>
          <a:bodyPr anchor="ctr"/>
          <a:lstStyle>
            <a:lvl1pPr algn="l">
              <a:defRPr sz="5294">
                <a:ln w="3175">
                  <a:noFill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7245005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240" y="2756586"/>
            <a:ext cx="4258017" cy="1166745"/>
          </a:xfrm>
          <a:prstGeom prst="rect">
            <a:avLst/>
          </a:prstGeom>
        </p:spPr>
      </p:pic>
      <p:sp>
        <p:nvSpPr>
          <p:cNvPr id="5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02239317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40065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,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867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182880" tIns="137160">
            <a:normAutofit/>
          </a:bodyPr>
          <a:lstStyle>
            <a:lvl1pPr algn="l">
              <a:defRPr sz="4000"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bg2">
              <a:alpha val="89000"/>
            </a:schemeClr>
          </a:solidFill>
        </p:spPr>
        <p:txBody>
          <a:bodyPr vert="horz" lIns="182880" tIns="13716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  <a:lvl2pPr marL="0" indent="0">
              <a:buFontTx/>
              <a:buNone/>
              <a:defRPr sz="1867" baseline="0">
                <a:latin typeface="Segoe Pro Light"/>
              </a:defRPr>
            </a:lvl2pPr>
            <a:lvl3pPr marL="0" indent="0">
              <a:buFontTx/>
              <a:buNone/>
              <a:defRPr sz="1867" baseline="0">
                <a:latin typeface="Segoe Pro Light"/>
              </a:defRPr>
            </a:lvl3pPr>
            <a:lvl4pPr marL="0" indent="0">
              <a:buFontTx/>
              <a:buNone/>
              <a:defRPr sz="1867" baseline="0">
                <a:latin typeface="Segoe Pro Light"/>
              </a:defRPr>
            </a:lvl4pPr>
            <a:lvl5pPr marL="0" indent="0">
              <a:buFontTx/>
              <a:buNone/>
              <a:defRPr sz="1867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0" y="0"/>
            <a:ext cx="1524000" cy="55981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1486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23676" y="228600"/>
            <a:ext cx="1947103" cy="71604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03619"/>
      </p:ext>
    </p:extLst>
  </p:cSld>
  <p:clrMapOvr>
    <a:masterClrMapping/>
  </p:clrMapOvr>
  <p:transition xmlns:p14="http://schemas.microsoft.com/office/powerpoint/2010/main">
    <p:fade/>
  </p:transition>
  <p:extLst>
    <p:ext uri="{DCECCB84-F9BA-43D5-87BE-67443E8EF086}">
      <p15:sldGuideLst xmlns=""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6"/>
            <a:ext cx="1947103" cy="71604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6"/>
            <a:ext cx="1947103" cy="7160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997371"/>
      </p:ext>
    </p:extLst>
  </p:cSld>
  <p:clrMapOvr>
    <a:masterClrMapping/>
  </p:clrMapOvr>
  <p:transition xmlns:p14="http://schemas.microsoft.com/office/powerpoint/2010/main">
    <p:fade/>
  </p:transition>
  <p:extLst>
    <p:ext uri="{DCECCB84-F9BA-43D5-87BE-67443E8EF086}">
      <p15:sldGuideLst xmlns=""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0"/>
            <a:ext cx="11890296" cy="4577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02399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1" y="6478588"/>
            <a:ext cx="761998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5463376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853" y="1600200"/>
            <a:ext cx="11890296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1674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58847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7015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05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03566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16321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1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7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18911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0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2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81452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3736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7093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, normal,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/>
          </a:solidFill>
        </p:spPr>
        <p:txBody>
          <a:bodyPr rIns="91440">
            <a:normAutofit/>
          </a:bodyPr>
          <a:lstStyle>
            <a:lvl1pPr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3657600" y="1219200"/>
            <a:ext cx="8229600" cy="5054600"/>
          </a:xfrm>
          <a:prstGeom prst="rect">
            <a:avLst/>
          </a:prstGeom>
        </p:spPr>
        <p:txBody>
          <a:bodyPr vert="horz" lIns="182880" tIns="13716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</p:spTree>
    <p:extLst>
      <p:ext uri="{BB962C8B-B14F-4D97-AF65-F5344CB8AC3E}">
        <p14:creationId xmlns:p14="http://schemas.microsoft.com/office/powerpoint/2010/main" val="12617577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7056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5173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7055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9334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1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4481380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78" y="2901951"/>
            <a:ext cx="2845008" cy="104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36989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7" y="6478601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50" tIns="38075" rIns="76150" bIns="38075" rtlCol="0" anchor="ctr"/>
          <a:lstStyle/>
          <a:p>
            <a:pPr algn="ctr" defTabSz="1087658"/>
            <a:endParaRPr lang="en-US" sz="2199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2004" y="2"/>
            <a:ext cx="11430000" cy="646042"/>
          </a:xfrm>
        </p:spPr>
        <p:txBody>
          <a:bodyPr>
            <a:noAutofit/>
          </a:bodyPr>
          <a:lstStyle>
            <a:lvl1pPr marL="225425" indent="0">
              <a:defRPr sz="4400"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2004" y="573618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799">
                <a:latin typeface="Segoe UI Light" pitchFamily="34" charset="0"/>
              </a:defRPr>
            </a:lvl1pPr>
            <a:lvl2pPr marL="281559" indent="0">
              <a:buNone/>
              <a:defRPr/>
            </a:lvl2pPr>
            <a:lvl3pPr marL="588234" indent="0">
              <a:buNone/>
              <a:defRPr/>
            </a:lvl3pPr>
            <a:lvl4pPr marL="869792" indent="0">
              <a:buNone/>
              <a:defRPr/>
            </a:lvl4pPr>
            <a:lvl5pPr marL="110508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Rectangle 8"/>
          <p:cNvSpPr/>
          <p:nvPr userDrawn="1">
            <p:custDataLst>
              <p:tags r:id="rId6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43" tIns="38072" rIns="76143" bIns="38072" rtlCol="0" anchor="ctr">
            <a:noAutofit/>
          </a:bodyPr>
          <a:lstStyle/>
          <a:p>
            <a:pPr algn="ctr" defTabSz="1087658"/>
            <a:endParaRPr lang="en-US" sz="2199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>
          <a:xfrm>
            <a:off x="11430008" y="6478601"/>
            <a:ext cx="761999" cy="379413"/>
          </a:xfrm>
          <a:prstGeom prst="rect">
            <a:avLst/>
          </a:prstGeom>
        </p:spPr>
        <p:txBody>
          <a:bodyPr/>
          <a:lstStyle/>
          <a:p>
            <a:pPr defTabSz="914247"/>
            <a:fld id="{6A4C1A4A-E5E6-4CC1-B72C-A20A4EB3E2D2}" type="slidenum">
              <a:rPr lang="en-US" sz="1900" smtClean="0">
                <a:solidFill>
                  <a:srgbClr val="505050"/>
                </a:solidFill>
              </a:rPr>
              <a:pPr defTabSz="914247"/>
              <a:t>‹#›</a:t>
            </a:fld>
            <a:endParaRPr lang="en-US" sz="1900" dirty="0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048000" y="6477887"/>
            <a:ext cx="8382000" cy="380127"/>
          </a:xfrm>
          <a:prstGeom prst="rect">
            <a:avLst/>
          </a:prstGeom>
        </p:spPr>
        <p:txBody>
          <a:bodyPr/>
          <a:lstStyle/>
          <a:p>
            <a:pPr defTabSz="914247"/>
            <a:endParaRPr lang="en-US" sz="1900" dirty="0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762000" y="6478601"/>
            <a:ext cx="2286000" cy="379413"/>
          </a:xfrm>
          <a:prstGeom prst="rect">
            <a:avLst/>
          </a:prstGeom>
        </p:spPr>
        <p:txBody>
          <a:bodyPr lIns="380752" tIns="38075" rIns="76150" bIns="3807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437135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659408" y="1219200"/>
            <a:ext cx="7922992" cy="4876800"/>
          </a:xfrm>
          <a:prstGeom prst="rect">
            <a:avLst/>
          </a:prstGeom>
        </p:spPr>
        <p:txBody>
          <a:bodyPr vert="horz" lIns="91440" tIns="45720">
            <a:normAutofit/>
          </a:bodyPr>
          <a:lstStyle>
            <a:lvl1pPr marL="0" indent="0">
              <a:spcBef>
                <a:spcPts val="800"/>
              </a:spcBef>
              <a:buFontTx/>
              <a:buNone/>
              <a:tabLst>
                <a:tab pos="840296" algn="l"/>
              </a:tabLst>
              <a:defRPr sz="2667" baseline="0">
                <a:solidFill>
                  <a:schemeClr val="tx1"/>
                </a:solidFill>
                <a:latin typeface="+mn-lt"/>
                <a:cs typeface="Segoe UI Light"/>
              </a:defRPr>
            </a:lvl1pPr>
            <a:lvl2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2pPr>
            <a:lvl3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3pPr>
            <a:lvl4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4pPr>
            <a:lvl5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5pPr>
          </a:lstStyle>
          <a:p>
            <a:pPr lvl="0"/>
            <a:r>
              <a:rPr lang="en-US" dirty="0"/>
              <a:t>4	Section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19200"/>
            <a:ext cx="2438400" cy="4851400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spcBef>
                <a:spcPts val="8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  <a:cs typeface="Segoe UI Semibold"/>
              </a:defRPr>
            </a:lvl1pPr>
          </a:lstStyle>
          <a:p>
            <a:pPr lvl="0"/>
            <a:r>
              <a:rPr lang="en-US" dirty="0"/>
              <a:t>Enter header here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0134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5" y="3877273"/>
            <a:ext cx="6273419" cy="1794661"/>
          </a:xfrm>
          <a:noFill/>
        </p:spPr>
        <p:txBody>
          <a:bodyPr lIns="146300" tIns="109725" rIns="146300" bIns="109725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1"/>
            <a:ext cx="9860611" cy="1801436"/>
          </a:xfrm>
          <a:noFill/>
        </p:spPr>
        <p:txBody>
          <a:bodyPr lIns="146300" tIns="91438" rIns="146300" bIns="91438" anchor="t" anchorCtr="0"/>
          <a:lstStyle>
            <a:lvl1pPr>
              <a:defRPr sz="5882" spc="-99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639" y="6054030"/>
            <a:ext cx="1517768" cy="333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80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=""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18926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256790" y="1075552"/>
            <a:ext cx="11668291" cy="19707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435655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7705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9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4876800" cy="2438400"/>
          </a:xfrm>
          <a:prstGeom prst="rect">
            <a:avLst/>
          </a:prstGeom>
          <a:solidFill>
            <a:schemeClr val="accent1">
              <a:alpha val="94000"/>
            </a:schemeClr>
          </a:solidFill>
        </p:spPr>
        <p:txBody>
          <a:bodyPr vert="horz" lIns="365751" tIns="137157" anchor="ctr">
            <a:normAutofit/>
          </a:bodyPr>
          <a:lstStyle>
            <a:lvl1pPr algn="l">
              <a:defRPr sz="4313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lIns="365751" tIns="137157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961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900" baseline="0">
                <a:latin typeface="Segoe Pro Light"/>
              </a:defRPr>
            </a:lvl2pPr>
            <a:lvl3pPr marL="0" indent="0">
              <a:buFontTx/>
              <a:buNone/>
              <a:defRPr sz="1900" baseline="0">
                <a:latin typeface="Segoe Pro Light"/>
              </a:defRPr>
            </a:lvl3pPr>
            <a:lvl4pPr marL="0" indent="0">
              <a:buFontTx/>
              <a:buNone/>
              <a:defRPr sz="1900" baseline="0">
                <a:latin typeface="Segoe Pro Light"/>
              </a:defRPr>
            </a:lvl4pPr>
            <a:lvl5pPr marL="0" indent="0">
              <a:buFontTx/>
              <a:buNone/>
              <a:defRPr sz="1900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600" y="24385"/>
            <a:ext cx="1524000" cy="553997"/>
          </a:xfrm>
        </p:spPr>
        <p:txBody>
          <a:bodyPr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33568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color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4876800" cy="2438400"/>
          </a:xfrm>
          <a:prstGeom prst="rect">
            <a:avLst/>
          </a:prstGeom>
          <a:solidFill>
            <a:schemeClr val="accent1">
              <a:alpha val="94000"/>
            </a:schemeClr>
          </a:solidFill>
        </p:spPr>
        <p:txBody>
          <a:bodyPr vert="horz" wrap="square" lIns="365751" tIns="137157" rIns="146300" bIns="91438" rtlCol="0" anchor="ctr">
            <a:normAutofit/>
          </a:bodyPr>
          <a:lstStyle>
            <a:lvl1pPr>
              <a:defRPr lang="en-US" sz="4313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wrap="square" lIns="365751" tIns="137157" rIns="146300" bIns="91438" rtlCol="0">
            <a:normAutofit/>
          </a:bodyPr>
          <a:lstStyle>
            <a:lvl1pPr>
              <a:defRPr lang="en-US" sz="1961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dirty="0"/>
              <a:t>Click to edit slide conten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600" y="24387"/>
            <a:ext cx="1524000" cy="615553"/>
          </a:xfrm>
        </p:spPr>
        <p:txBody>
          <a:bodyPr/>
          <a:lstStyle>
            <a:lvl1pPr marL="0" indent="0" algn="ctr">
              <a:buNone/>
              <a:defRPr sz="2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70320"/>
      </p:ext>
    </p:extLst>
  </p:cSld>
  <p:clrMapOvr>
    <a:masterClrMapping/>
  </p:clrMapOvr>
  <p:transition xmlns:p14="http://schemas.microsoft.com/office/powerpoint/2010/main">
    <p:fade/>
  </p:transition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2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3.xml"/><Relationship Id="rId20" Type="http://schemas.openxmlformats.org/officeDocument/2006/relationships/image" Target="../media/image1.emf"/><Relationship Id="rId21" Type="http://schemas.openxmlformats.org/officeDocument/2006/relationships/image" Target="../media/image2.png"/><Relationship Id="rId10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19.xml"/><Relationship Id="rId16" Type="http://schemas.openxmlformats.org/officeDocument/2006/relationships/theme" Target="../theme/theme3.xml"/><Relationship Id="rId17" Type="http://schemas.openxmlformats.org/officeDocument/2006/relationships/vmlDrawing" Target="../drawings/vmlDrawing1.vml"/><Relationship Id="rId18" Type="http://schemas.openxmlformats.org/officeDocument/2006/relationships/tags" Target="../tags/tag1.xml"/><Relationship Id="rId19" Type="http://schemas.openxmlformats.org/officeDocument/2006/relationships/oleObject" Target="../embeddings/oleObject1.bin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slideLayout" Target="../slideLayouts/slideLayout8.xml"/><Relationship Id="rId5" Type="http://schemas.openxmlformats.org/officeDocument/2006/relationships/slideLayout" Target="../slideLayouts/slideLayout9.xml"/><Relationship Id="rId6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1.xml"/><Relationship Id="rId8" Type="http://schemas.openxmlformats.org/officeDocument/2006/relationships/slideLayout" Target="../slideLayouts/slideLayout12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8.xml"/><Relationship Id="rId20" Type="http://schemas.openxmlformats.org/officeDocument/2006/relationships/tags" Target="../tags/tag16.xml"/><Relationship Id="rId21" Type="http://schemas.openxmlformats.org/officeDocument/2006/relationships/oleObject" Target="../embeddings/oleObject16.bin"/><Relationship Id="rId22" Type="http://schemas.openxmlformats.org/officeDocument/2006/relationships/image" Target="../media/image7.emf"/><Relationship Id="rId10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36.xml"/><Relationship Id="rId18" Type="http://schemas.openxmlformats.org/officeDocument/2006/relationships/theme" Target="../theme/theme4.xml"/><Relationship Id="rId19" Type="http://schemas.openxmlformats.org/officeDocument/2006/relationships/vmlDrawing" Target="../drawings/vmlDrawing16.vml"/><Relationship Id="rId1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1.xml"/><Relationship Id="rId3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6.xml"/><Relationship Id="rId8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0760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50023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115184"/>
            <a:ext cx="11655840" cy="899665"/>
          </a:xfrm>
          <a:prstGeom prst="rect">
            <a:avLst/>
          </a:prstGeom>
        </p:spPr>
        <p:txBody>
          <a:bodyPr vert="horz" wrap="square" lIns="0" tIns="91438" rIns="146300" bIns="91438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014849"/>
            <a:ext cx="11653521" cy="1991798"/>
          </a:xfrm>
          <a:prstGeom prst="rect">
            <a:avLst/>
          </a:prstGeom>
        </p:spPr>
        <p:txBody>
          <a:bodyPr vert="horz" wrap="square" lIns="146300" tIns="91438" rIns="146300" bIns="91438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325054" y="1906414"/>
            <a:ext cx="4214127" cy="40130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623952" y="6566932"/>
            <a:ext cx="571679" cy="1357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fld id="{8DAF4C9F-3D2A-4A65-A11E-611D63B252E8}" type="slidenum">
              <a:rPr lang="en-US" sz="98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pPr algn="ctr">
                <a:lnSpc>
                  <a:spcPct val="90000"/>
                </a:lnSpc>
                <a:spcAft>
                  <a:spcPts val="588"/>
                </a:spcAft>
              </a:pPr>
              <a:t>‹#›</a:t>
            </a:fld>
            <a:endParaRPr lang="en-US" sz="98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870181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</p:sldLayoutIdLst>
  <p:transition xmlns:p14="http://schemas.microsoft.com/office/powerpoint/2010/main">
    <p:fade/>
  </p:transition>
  <p:hf hdr="0" ftr="0" dt="0"/>
  <p:txStyles>
    <p:titleStyle>
      <a:lvl1pPr algn="l" defTabSz="914168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72" marR="0" indent="-336072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Arial" panose="020B0604020202020204" pitchFamily="34" charset="0"/>
        <a:buChar char="•"/>
        <a:tabLst/>
        <a:defRPr sz="3137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566" marR="0" indent="-236495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Segoe UI" panose="020B0502040204020203" pitchFamily="34" charset="0"/>
        <a:buChar char="‒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168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215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Segoe UI" panose="020B0502040204020203" pitchFamily="34" charset="0"/>
        <a:buChar char="‒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264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3963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48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34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18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4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68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2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38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3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06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89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76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66">
          <p15:clr>
            <a:srgbClr val="F26B43"/>
          </p15:clr>
        </p15:guide>
        <p15:guide id="2" pos="165">
          <p15:clr>
            <a:srgbClr val="F26B43"/>
          </p15:clr>
        </p15:guide>
        <p15:guide id="3" pos="7665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691">
          <p15:clr>
            <a:srgbClr val="F26B43"/>
          </p15:clr>
        </p15:guide>
        <p15:guide id="6" orient="horz" pos="404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0" name="think-cell Slide" r:id="rId21" imgW="383" imgH="384" progId="TCLayout.ActiveDocument.1">
                  <p:embed/>
                </p:oleObj>
              </mc:Choice>
              <mc:Fallback>
                <p:oleObj name="think-cell Slide" r:id="rId21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000" y="6477874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1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0002" y="6477874"/>
            <a:ext cx="761998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105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153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</p:sldLayoutIdLst>
  <p:transition xmlns:p14="http://schemas.microsoft.com/office/powerpoint/2010/main">
    <p:fade/>
  </p:transition>
  <p:hf hdr="0" ftr="0" dt="0"/>
  <p:txStyles>
    <p:titleStyle>
      <a:lvl1pPr marL="0" algn="l" defTabSz="1088105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088105" rtl="0" eaLnBrk="1" latinLnBrk="0" hangingPunct="1">
        <a:spcBef>
          <a:spcPts val="1800"/>
        </a:spcBef>
        <a:buClr>
          <a:srgbClr val="0072C6"/>
        </a:buClr>
        <a:buSzPct val="100000"/>
        <a:buFont typeface="Wingdings" pitchFamily="2" charset="2"/>
        <a:buNone/>
        <a:defRPr sz="24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70" indent="-194396" algn="l" defTabSz="1088105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712" indent="-173236" algn="l" defTabSz="1088105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354" indent="-177204" algn="l" defTabSz="108810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389" indent="-179849" algn="l" defTabSz="108810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2290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342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396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448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4053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105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15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211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264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316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36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422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4" Type="http://schemas.openxmlformats.org/officeDocument/2006/relationships/image" Target="../media/image15.png"/><Relationship Id="rId5" Type="http://schemas.openxmlformats.org/officeDocument/2006/relationships/image" Target="../media/image16.svg"/><Relationship Id="rId6" Type="http://schemas.openxmlformats.org/officeDocument/2006/relationships/image" Target="../media/image16.png"/><Relationship Id="rId1" Type="http://schemas.openxmlformats.org/officeDocument/2006/relationships/tags" Target="../tags/tag25.xml"/><Relationship Id="rId2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5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5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5" Type="http://schemas.openxmlformats.org/officeDocument/2006/relationships/image" Target="../media/image21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2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5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4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5" Type="http://schemas.openxmlformats.org/officeDocument/2006/relationships/image" Target="../media/image25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" name="Group 402"/>
          <p:cNvGrpSpPr/>
          <p:nvPr/>
        </p:nvGrpSpPr>
        <p:grpSpPr>
          <a:xfrm>
            <a:off x="-3809" y="-467309"/>
            <a:ext cx="12208641" cy="7371977"/>
            <a:chOff x="-5398" y="-468324"/>
            <a:chExt cx="12211821" cy="7373897"/>
          </a:xfrm>
        </p:grpSpPr>
        <p:grpSp>
          <p:nvGrpSpPr>
            <p:cNvPr id="404" name="Group 403"/>
            <p:cNvGrpSpPr/>
            <p:nvPr/>
          </p:nvGrpSpPr>
          <p:grpSpPr>
            <a:xfrm>
              <a:off x="8480045" y="937160"/>
              <a:ext cx="1791196" cy="1791192"/>
              <a:chOff x="8441230" y="913268"/>
              <a:chExt cx="1791196" cy="1791192"/>
            </a:xfrm>
          </p:grpSpPr>
          <p:sp>
            <p:nvSpPr>
              <p:cNvPr id="798" name="Freeform 797"/>
              <p:cNvSpPr>
                <a:spLocks noEditPoints="1"/>
              </p:cNvSpPr>
              <p:nvPr/>
            </p:nvSpPr>
            <p:spPr bwMode="black">
              <a:xfrm>
                <a:off x="9678332" y="1536353"/>
                <a:ext cx="338073" cy="681753"/>
              </a:xfrm>
              <a:custGeom>
                <a:avLst/>
                <a:gdLst/>
                <a:ahLst/>
                <a:cxnLst>
                  <a:cxn ang="0">
                    <a:pos x="260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0" y="112"/>
                  </a:cxn>
                  <a:cxn ang="0">
                    <a:pos x="0" y="119"/>
                  </a:cxn>
                  <a:cxn ang="0">
                    <a:pos x="0" y="531"/>
                  </a:cxn>
                  <a:cxn ang="0">
                    <a:pos x="7" y="538"/>
                  </a:cxn>
                  <a:cxn ang="0">
                    <a:pos x="260" y="538"/>
                  </a:cxn>
                  <a:cxn ang="0">
                    <a:pos x="267" y="531"/>
                  </a:cxn>
                  <a:cxn ang="0">
                    <a:pos x="267" y="119"/>
                  </a:cxn>
                  <a:cxn ang="0">
                    <a:pos x="267" y="112"/>
                  </a:cxn>
                  <a:cxn ang="0">
                    <a:pos x="267" y="7"/>
                  </a:cxn>
                  <a:cxn ang="0">
                    <a:pos x="260" y="0"/>
                  </a:cxn>
                  <a:cxn ang="0">
                    <a:pos x="32" y="82"/>
                  </a:cxn>
                  <a:cxn ang="0">
                    <a:pos x="32" y="57"/>
                  </a:cxn>
                  <a:cxn ang="0">
                    <a:pos x="39" y="50"/>
                  </a:cxn>
                  <a:cxn ang="0">
                    <a:pos x="228" y="50"/>
                  </a:cxn>
                  <a:cxn ang="0">
                    <a:pos x="235" y="57"/>
                  </a:cxn>
                  <a:cxn ang="0">
                    <a:pos x="235" y="82"/>
                  </a:cxn>
                  <a:cxn ang="0">
                    <a:pos x="228" y="89"/>
                  </a:cxn>
                  <a:cxn ang="0">
                    <a:pos x="39" y="89"/>
                  </a:cxn>
                  <a:cxn ang="0">
                    <a:pos x="32" y="82"/>
                  </a:cxn>
                  <a:cxn ang="0">
                    <a:pos x="213" y="254"/>
                  </a:cxn>
                  <a:cxn ang="0">
                    <a:pos x="195" y="236"/>
                  </a:cxn>
                  <a:cxn ang="0">
                    <a:pos x="213" y="218"/>
                  </a:cxn>
                  <a:cxn ang="0">
                    <a:pos x="232" y="236"/>
                  </a:cxn>
                  <a:cxn ang="0">
                    <a:pos x="213" y="254"/>
                  </a:cxn>
                  <a:cxn ang="0">
                    <a:pos x="213" y="194"/>
                  </a:cxn>
                  <a:cxn ang="0">
                    <a:pos x="189" y="170"/>
                  </a:cxn>
                  <a:cxn ang="0">
                    <a:pos x="213" y="146"/>
                  </a:cxn>
                  <a:cxn ang="0">
                    <a:pos x="238" y="170"/>
                  </a:cxn>
                  <a:cxn ang="0">
                    <a:pos x="213" y="194"/>
                  </a:cxn>
                </a:cxnLst>
                <a:rect l="0" t="0" r="r" b="b"/>
                <a:pathLst>
                  <a:path w="267" h="538">
                    <a:moveTo>
                      <a:pt x="260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531"/>
                      <a:pt x="0" y="531"/>
                      <a:pt x="0" y="531"/>
                    </a:cubicBezTo>
                    <a:cubicBezTo>
                      <a:pt x="0" y="535"/>
                      <a:pt x="3" y="538"/>
                      <a:pt x="7" y="538"/>
                    </a:cubicBezTo>
                    <a:cubicBezTo>
                      <a:pt x="260" y="538"/>
                      <a:pt x="260" y="538"/>
                      <a:pt x="260" y="538"/>
                    </a:cubicBezTo>
                    <a:cubicBezTo>
                      <a:pt x="264" y="538"/>
                      <a:pt x="267" y="535"/>
                      <a:pt x="267" y="531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2"/>
                      <a:pt x="267" y="112"/>
                      <a:pt x="267" y="112"/>
                    </a:cubicBezTo>
                    <a:cubicBezTo>
                      <a:pt x="267" y="7"/>
                      <a:pt x="267" y="7"/>
                      <a:pt x="267" y="7"/>
                    </a:cubicBezTo>
                    <a:cubicBezTo>
                      <a:pt x="267" y="3"/>
                      <a:pt x="264" y="0"/>
                      <a:pt x="260" y="0"/>
                    </a:cubicBezTo>
                    <a:close/>
                    <a:moveTo>
                      <a:pt x="32" y="82"/>
                    </a:moveTo>
                    <a:cubicBezTo>
                      <a:pt x="32" y="57"/>
                      <a:pt x="32" y="57"/>
                      <a:pt x="32" y="57"/>
                    </a:cubicBezTo>
                    <a:cubicBezTo>
                      <a:pt x="32" y="53"/>
                      <a:pt x="35" y="50"/>
                      <a:pt x="39" y="50"/>
                    </a:cubicBezTo>
                    <a:cubicBezTo>
                      <a:pt x="228" y="50"/>
                      <a:pt x="228" y="50"/>
                      <a:pt x="228" y="50"/>
                    </a:cubicBezTo>
                    <a:cubicBezTo>
                      <a:pt x="232" y="50"/>
                      <a:pt x="235" y="53"/>
                      <a:pt x="235" y="57"/>
                    </a:cubicBezTo>
                    <a:cubicBezTo>
                      <a:pt x="235" y="82"/>
                      <a:pt x="235" y="82"/>
                      <a:pt x="235" y="82"/>
                    </a:cubicBezTo>
                    <a:cubicBezTo>
                      <a:pt x="235" y="86"/>
                      <a:pt x="232" y="89"/>
                      <a:pt x="22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5" y="89"/>
                      <a:pt x="32" y="86"/>
                      <a:pt x="32" y="82"/>
                    </a:cubicBezTo>
                    <a:close/>
                    <a:moveTo>
                      <a:pt x="213" y="254"/>
                    </a:moveTo>
                    <a:cubicBezTo>
                      <a:pt x="203" y="254"/>
                      <a:pt x="195" y="246"/>
                      <a:pt x="195" y="236"/>
                    </a:cubicBezTo>
                    <a:cubicBezTo>
                      <a:pt x="195" y="226"/>
                      <a:pt x="203" y="218"/>
                      <a:pt x="213" y="218"/>
                    </a:cubicBezTo>
                    <a:cubicBezTo>
                      <a:pt x="223" y="218"/>
                      <a:pt x="232" y="226"/>
                      <a:pt x="232" y="236"/>
                    </a:cubicBezTo>
                    <a:cubicBezTo>
                      <a:pt x="232" y="246"/>
                      <a:pt x="223" y="254"/>
                      <a:pt x="213" y="254"/>
                    </a:cubicBezTo>
                    <a:close/>
                    <a:moveTo>
                      <a:pt x="213" y="194"/>
                    </a:moveTo>
                    <a:cubicBezTo>
                      <a:pt x="200" y="194"/>
                      <a:pt x="189" y="183"/>
                      <a:pt x="189" y="170"/>
                    </a:cubicBezTo>
                    <a:cubicBezTo>
                      <a:pt x="189" y="156"/>
                      <a:pt x="200" y="146"/>
                      <a:pt x="213" y="146"/>
                    </a:cubicBezTo>
                    <a:cubicBezTo>
                      <a:pt x="227" y="146"/>
                      <a:pt x="238" y="156"/>
                      <a:pt x="238" y="170"/>
                    </a:cubicBezTo>
                    <a:cubicBezTo>
                      <a:pt x="238" y="183"/>
                      <a:pt x="227" y="194"/>
                      <a:pt x="213" y="194"/>
                    </a:cubicBez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7" rIns="91412" bIns="4570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405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-123" normalizeH="0" baseline="0" noProof="0" dirty="0">
                  <a:ln>
                    <a:noFill/>
                  </a:ln>
                  <a:solidFill>
                    <a:srgbClr val="50505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</a:endParaRPr>
              </a:p>
            </p:txBody>
          </p:sp>
          <p:sp>
            <p:nvSpPr>
              <p:cNvPr id="799" name="Freeform 88"/>
              <p:cNvSpPr>
                <a:spLocks noEditPoints="1"/>
              </p:cNvSpPr>
              <p:nvPr/>
            </p:nvSpPr>
            <p:spPr bwMode="black">
              <a:xfrm>
                <a:off x="8774074" y="1498691"/>
                <a:ext cx="848373" cy="719415"/>
              </a:xfrm>
              <a:custGeom>
                <a:avLst/>
                <a:gdLst/>
                <a:ahLst/>
                <a:cxnLst>
                  <a:cxn ang="0">
                    <a:pos x="494" y="0"/>
                  </a:cxn>
                  <a:cxn ang="0">
                    <a:pos x="17" y="0"/>
                  </a:cxn>
                  <a:cxn ang="0">
                    <a:pos x="0" y="16"/>
                  </a:cxn>
                  <a:cxn ang="0">
                    <a:pos x="0" y="361"/>
                  </a:cxn>
                  <a:cxn ang="0">
                    <a:pos x="17" y="377"/>
                  </a:cxn>
                  <a:cxn ang="0">
                    <a:pos x="174" y="377"/>
                  </a:cxn>
                  <a:cxn ang="0">
                    <a:pos x="174" y="402"/>
                  </a:cxn>
                  <a:cxn ang="0">
                    <a:pos x="139" y="435"/>
                  </a:cxn>
                  <a:cxn ang="0">
                    <a:pos x="380" y="435"/>
                  </a:cxn>
                  <a:cxn ang="0">
                    <a:pos x="346" y="402"/>
                  </a:cxn>
                  <a:cxn ang="0">
                    <a:pos x="346" y="377"/>
                  </a:cxn>
                  <a:cxn ang="0">
                    <a:pos x="494" y="377"/>
                  </a:cxn>
                  <a:cxn ang="0">
                    <a:pos x="510" y="361"/>
                  </a:cxn>
                  <a:cxn ang="0">
                    <a:pos x="510" y="16"/>
                  </a:cxn>
                  <a:cxn ang="0">
                    <a:pos x="494" y="0"/>
                  </a:cxn>
                  <a:cxn ang="0">
                    <a:pos x="481" y="335"/>
                  </a:cxn>
                  <a:cxn ang="0">
                    <a:pos x="467" y="349"/>
                  </a:cxn>
                  <a:cxn ang="0">
                    <a:pos x="44" y="349"/>
                  </a:cxn>
                  <a:cxn ang="0">
                    <a:pos x="30" y="335"/>
                  </a:cxn>
                  <a:cxn ang="0">
                    <a:pos x="30" y="42"/>
                  </a:cxn>
                  <a:cxn ang="0">
                    <a:pos x="44" y="28"/>
                  </a:cxn>
                  <a:cxn ang="0">
                    <a:pos x="467" y="28"/>
                  </a:cxn>
                  <a:cxn ang="0">
                    <a:pos x="481" y="42"/>
                  </a:cxn>
                  <a:cxn ang="0">
                    <a:pos x="481" y="335"/>
                  </a:cxn>
                </a:cxnLst>
                <a:rect l="0" t="0" r="r" b="b"/>
                <a:pathLst>
                  <a:path w="510" h="435">
                    <a:moveTo>
                      <a:pt x="494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361"/>
                      <a:pt x="0" y="361"/>
                      <a:pt x="0" y="361"/>
                    </a:cubicBezTo>
                    <a:cubicBezTo>
                      <a:pt x="0" y="370"/>
                      <a:pt x="8" y="377"/>
                      <a:pt x="17" y="377"/>
                    </a:cubicBezTo>
                    <a:cubicBezTo>
                      <a:pt x="174" y="377"/>
                      <a:pt x="174" y="377"/>
                      <a:pt x="174" y="377"/>
                    </a:cubicBezTo>
                    <a:cubicBezTo>
                      <a:pt x="174" y="402"/>
                      <a:pt x="174" y="402"/>
                      <a:pt x="174" y="402"/>
                    </a:cubicBezTo>
                    <a:cubicBezTo>
                      <a:pt x="139" y="435"/>
                      <a:pt x="139" y="435"/>
                      <a:pt x="139" y="435"/>
                    </a:cubicBezTo>
                    <a:cubicBezTo>
                      <a:pt x="380" y="435"/>
                      <a:pt x="380" y="435"/>
                      <a:pt x="380" y="435"/>
                    </a:cubicBezTo>
                    <a:cubicBezTo>
                      <a:pt x="346" y="402"/>
                      <a:pt x="346" y="402"/>
                      <a:pt x="346" y="402"/>
                    </a:cubicBezTo>
                    <a:cubicBezTo>
                      <a:pt x="346" y="377"/>
                      <a:pt x="346" y="377"/>
                      <a:pt x="346" y="377"/>
                    </a:cubicBezTo>
                    <a:cubicBezTo>
                      <a:pt x="494" y="377"/>
                      <a:pt x="494" y="377"/>
                      <a:pt x="494" y="377"/>
                    </a:cubicBezTo>
                    <a:cubicBezTo>
                      <a:pt x="503" y="377"/>
                      <a:pt x="510" y="370"/>
                      <a:pt x="510" y="361"/>
                    </a:cubicBezTo>
                    <a:cubicBezTo>
                      <a:pt x="510" y="16"/>
                      <a:pt x="510" y="16"/>
                      <a:pt x="510" y="16"/>
                    </a:cubicBezTo>
                    <a:cubicBezTo>
                      <a:pt x="510" y="7"/>
                      <a:pt x="503" y="0"/>
                      <a:pt x="494" y="0"/>
                    </a:cubicBezTo>
                    <a:close/>
                    <a:moveTo>
                      <a:pt x="481" y="335"/>
                    </a:moveTo>
                    <a:cubicBezTo>
                      <a:pt x="481" y="343"/>
                      <a:pt x="475" y="349"/>
                      <a:pt x="467" y="349"/>
                    </a:cubicBezTo>
                    <a:cubicBezTo>
                      <a:pt x="44" y="349"/>
                      <a:pt x="44" y="349"/>
                      <a:pt x="44" y="349"/>
                    </a:cubicBezTo>
                    <a:cubicBezTo>
                      <a:pt x="36" y="349"/>
                      <a:pt x="30" y="343"/>
                      <a:pt x="30" y="335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0" y="34"/>
                      <a:pt x="36" y="28"/>
                      <a:pt x="44" y="28"/>
                    </a:cubicBezTo>
                    <a:cubicBezTo>
                      <a:pt x="467" y="28"/>
                      <a:pt x="467" y="28"/>
                      <a:pt x="467" y="28"/>
                    </a:cubicBezTo>
                    <a:cubicBezTo>
                      <a:pt x="475" y="28"/>
                      <a:pt x="481" y="34"/>
                      <a:pt x="481" y="42"/>
                    </a:cubicBezTo>
                    <a:lnTo>
                      <a:pt x="481" y="335"/>
                    </a:ln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7" rIns="91412" bIns="4570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405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-123" normalizeH="0" baseline="0" noProof="0" dirty="0">
                  <a:ln>
                    <a:noFill/>
                  </a:ln>
                  <a:solidFill>
                    <a:srgbClr val="50505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</a:endParaRPr>
              </a:p>
            </p:txBody>
          </p:sp>
          <p:sp>
            <p:nvSpPr>
              <p:cNvPr id="800" name="Rounded Rectangle 47"/>
              <p:cNvSpPr/>
              <p:nvPr/>
            </p:nvSpPr>
            <p:spPr>
              <a:xfrm rot="5400000">
                <a:off x="8441232" y="913266"/>
                <a:ext cx="1791192" cy="1791196"/>
              </a:xfrm>
              <a:custGeom>
                <a:avLst/>
                <a:gdLst/>
                <a:ahLst/>
                <a:cxnLst/>
                <a:rect l="l" t="t" r="r" b="b"/>
                <a:pathLst>
                  <a:path w="4796166" h="4796165">
                    <a:moveTo>
                      <a:pt x="4535493" y="1516069"/>
                    </a:moveTo>
                    <a:lnTo>
                      <a:pt x="4535493" y="921709"/>
                    </a:lnTo>
                    <a:lnTo>
                      <a:pt x="4697104" y="921709"/>
                    </a:lnTo>
                    <a:cubicBezTo>
                      <a:pt x="4751814" y="921709"/>
                      <a:pt x="4796166" y="966061"/>
                      <a:pt x="4796166" y="1020771"/>
                    </a:cubicBezTo>
                    <a:lnTo>
                      <a:pt x="4796166" y="1417007"/>
                    </a:lnTo>
                    <a:cubicBezTo>
                      <a:pt x="4796166" y="1471717"/>
                      <a:pt x="4751814" y="1516069"/>
                      <a:pt x="4697104" y="1516069"/>
                    </a:cubicBezTo>
                    <a:close/>
                    <a:moveTo>
                      <a:pt x="4535493" y="2695264"/>
                    </a:moveTo>
                    <a:lnTo>
                      <a:pt x="4535493" y="2100904"/>
                    </a:lnTo>
                    <a:lnTo>
                      <a:pt x="4697104" y="2100904"/>
                    </a:lnTo>
                    <a:cubicBezTo>
                      <a:pt x="4751814" y="2100904"/>
                      <a:pt x="4796166" y="2145256"/>
                      <a:pt x="4796166" y="2199966"/>
                    </a:cubicBezTo>
                    <a:lnTo>
                      <a:pt x="4796166" y="2596202"/>
                    </a:lnTo>
                    <a:cubicBezTo>
                      <a:pt x="4796166" y="2650912"/>
                      <a:pt x="4751814" y="2695264"/>
                      <a:pt x="4697104" y="2695264"/>
                    </a:cubicBezTo>
                    <a:close/>
                    <a:moveTo>
                      <a:pt x="4535493" y="3874459"/>
                    </a:moveTo>
                    <a:lnTo>
                      <a:pt x="4535493" y="3280099"/>
                    </a:lnTo>
                    <a:lnTo>
                      <a:pt x="4697104" y="3280099"/>
                    </a:lnTo>
                    <a:cubicBezTo>
                      <a:pt x="4751814" y="3280099"/>
                      <a:pt x="4796166" y="3324451"/>
                      <a:pt x="4796166" y="3379161"/>
                    </a:cubicBezTo>
                    <a:lnTo>
                      <a:pt x="4796166" y="3775397"/>
                    </a:lnTo>
                    <a:cubicBezTo>
                      <a:pt x="4796166" y="3830107"/>
                      <a:pt x="4751814" y="3874459"/>
                      <a:pt x="4697104" y="3874459"/>
                    </a:cubicBezTo>
                    <a:close/>
                    <a:moveTo>
                      <a:pt x="3280098" y="260673"/>
                    </a:moveTo>
                    <a:lnTo>
                      <a:pt x="3280098" y="99062"/>
                    </a:lnTo>
                    <a:cubicBezTo>
                      <a:pt x="3280098" y="44352"/>
                      <a:pt x="3324450" y="0"/>
                      <a:pt x="3379160" y="0"/>
                    </a:cubicBezTo>
                    <a:lnTo>
                      <a:pt x="3775396" y="0"/>
                    </a:lnTo>
                    <a:cubicBezTo>
                      <a:pt x="3830106" y="0"/>
                      <a:pt x="3874458" y="44352"/>
                      <a:pt x="3874458" y="99062"/>
                    </a:cubicBezTo>
                    <a:lnTo>
                      <a:pt x="3874458" y="260673"/>
                    </a:lnTo>
                    <a:close/>
                    <a:moveTo>
                      <a:pt x="3280098" y="4697103"/>
                    </a:moveTo>
                    <a:lnTo>
                      <a:pt x="3280098" y="4535493"/>
                    </a:lnTo>
                    <a:lnTo>
                      <a:pt x="3874458" y="4535493"/>
                    </a:lnTo>
                    <a:lnTo>
                      <a:pt x="3874458" y="4697103"/>
                    </a:lnTo>
                    <a:cubicBezTo>
                      <a:pt x="3874458" y="4751813"/>
                      <a:pt x="3830106" y="4796165"/>
                      <a:pt x="3775396" y="4796165"/>
                    </a:cubicBezTo>
                    <a:lnTo>
                      <a:pt x="3379160" y="4796165"/>
                    </a:lnTo>
                    <a:cubicBezTo>
                      <a:pt x="3324450" y="4796165"/>
                      <a:pt x="3280098" y="4751813"/>
                      <a:pt x="3280098" y="4697103"/>
                    </a:cubicBezTo>
                    <a:close/>
                    <a:moveTo>
                      <a:pt x="2100903" y="260673"/>
                    </a:moveTo>
                    <a:lnTo>
                      <a:pt x="2100903" y="99062"/>
                    </a:lnTo>
                    <a:cubicBezTo>
                      <a:pt x="2100903" y="44352"/>
                      <a:pt x="2145255" y="0"/>
                      <a:pt x="2199965" y="0"/>
                    </a:cubicBezTo>
                    <a:lnTo>
                      <a:pt x="2596201" y="0"/>
                    </a:lnTo>
                    <a:cubicBezTo>
                      <a:pt x="2650911" y="0"/>
                      <a:pt x="2695263" y="44352"/>
                      <a:pt x="2695263" y="99062"/>
                    </a:cubicBezTo>
                    <a:lnTo>
                      <a:pt x="2695263" y="260673"/>
                    </a:lnTo>
                    <a:close/>
                    <a:moveTo>
                      <a:pt x="2100903" y="4697103"/>
                    </a:moveTo>
                    <a:lnTo>
                      <a:pt x="2100903" y="4535493"/>
                    </a:lnTo>
                    <a:lnTo>
                      <a:pt x="2695263" y="4535493"/>
                    </a:lnTo>
                    <a:lnTo>
                      <a:pt x="2695263" y="4697103"/>
                    </a:lnTo>
                    <a:cubicBezTo>
                      <a:pt x="2695263" y="4751813"/>
                      <a:pt x="2650911" y="4796165"/>
                      <a:pt x="2596201" y="4796165"/>
                    </a:cubicBezTo>
                    <a:lnTo>
                      <a:pt x="2199965" y="4796165"/>
                    </a:lnTo>
                    <a:cubicBezTo>
                      <a:pt x="2145255" y="4796165"/>
                      <a:pt x="2100903" y="4751813"/>
                      <a:pt x="2100903" y="4697103"/>
                    </a:cubicBezTo>
                    <a:close/>
                    <a:moveTo>
                      <a:pt x="921708" y="260673"/>
                    </a:moveTo>
                    <a:lnTo>
                      <a:pt x="921708" y="99062"/>
                    </a:lnTo>
                    <a:cubicBezTo>
                      <a:pt x="921708" y="44352"/>
                      <a:pt x="966060" y="0"/>
                      <a:pt x="1020770" y="0"/>
                    </a:cubicBezTo>
                    <a:lnTo>
                      <a:pt x="1417006" y="0"/>
                    </a:lnTo>
                    <a:cubicBezTo>
                      <a:pt x="1471716" y="0"/>
                      <a:pt x="1516068" y="44352"/>
                      <a:pt x="1516068" y="99062"/>
                    </a:cubicBezTo>
                    <a:lnTo>
                      <a:pt x="1516068" y="260673"/>
                    </a:lnTo>
                    <a:close/>
                    <a:moveTo>
                      <a:pt x="921708" y="4697103"/>
                    </a:moveTo>
                    <a:lnTo>
                      <a:pt x="921708" y="4535493"/>
                    </a:lnTo>
                    <a:lnTo>
                      <a:pt x="1516068" y="4535493"/>
                    </a:lnTo>
                    <a:lnTo>
                      <a:pt x="1516068" y="4697103"/>
                    </a:lnTo>
                    <a:cubicBezTo>
                      <a:pt x="1516068" y="4751813"/>
                      <a:pt x="1471716" y="4796165"/>
                      <a:pt x="1417006" y="4796165"/>
                    </a:cubicBezTo>
                    <a:lnTo>
                      <a:pt x="1020770" y="4796165"/>
                    </a:lnTo>
                    <a:cubicBezTo>
                      <a:pt x="966060" y="4796165"/>
                      <a:pt x="921708" y="4751813"/>
                      <a:pt x="921708" y="4697103"/>
                    </a:cubicBezTo>
                    <a:close/>
                    <a:moveTo>
                      <a:pt x="0" y="1417007"/>
                    </a:moveTo>
                    <a:lnTo>
                      <a:pt x="0" y="1020771"/>
                    </a:lnTo>
                    <a:cubicBezTo>
                      <a:pt x="0" y="966061"/>
                      <a:pt x="44352" y="921709"/>
                      <a:pt x="99062" y="921709"/>
                    </a:cubicBezTo>
                    <a:lnTo>
                      <a:pt x="260673" y="921709"/>
                    </a:lnTo>
                    <a:lnTo>
                      <a:pt x="260673" y="1516069"/>
                    </a:lnTo>
                    <a:lnTo>
                      <a:pt x="99062" y="1516069"/>
                    </a:lnTo>
                    <a:cubicBezTo>
                      <a:pt x="44352" y="1516069"/>
                      <a:pt x="0" y="1471717"/>
                      <a:pt x="0" y="1417007"/>
                    </a:cubicBezTo>
                    <a:close/>
                    <a:moveTo>
                      <a:pt x="0" y="2596202"/>
                    </a:moveTo>
                    <a:lnTo>
                      <a:pt x="0" y="2199966"/>
                    </a:lnTo>
                    <a:cubicBezTo>
                      <a:pt x="0" y="2145256"/>
                      <a:pt x="44352" y="2100904"/>
                      <a:pt x="99062" y="2100904"/>
                    </a:cubicBezTo>
                    <a:lnTo>
                      <a:pt x="260673" y="2100904"/>
                    </a:lnTo>
                    <a:lnTo>
                      <a:pt x="260673" y="2695264"/>
                    </a:lnTo>
                    <a:lnTo>
                      <a:pt x="99062" y="2695264"/>
                    </a:lnTo>
                    <a:cubicBezTo>
                      <a:pt x="44352" y="2695264"/>
                      <a:pt x="0" y="2650912"/>
                      <a:pt x="0" y="2596202"/>
                    </a:cubicBezTo>
                    <a:close/>
                    <a:moveTo>
                      <a:pt x="0" y="3775397"/>
                    </a:moveTo>
                    <a:lnTo>
                      <a:pt x="0" y="3379161"/>
                    </a:lnTo>
                    <a:cubicBezTo>
                      <a:pt x="0" y="3324451"/>
                      <a:pt x="44352" y="3280099"/>
                      <a:pt x="99062" y="3280099"/>
                    </a:cubicBezTo>
                    <a:lnTo>
                      <a:pt x="260673" y="3280099"/>
                    </a:lnTo>
                    <a:lnTo>
                      <a:pt x="260673" y="3874459"/>
                    </a:lnTo>
                    <a:lnTo>
                      <a:pt x="99062" y="3874459"/>
                    </a:lnTo>
                    <a:cubicBezTo>
                      <a:pt x="44352" y="3874459"/>
                      <a:pt x="0" y="3830107"/>
                      <a:pt x="0" y="3775397"/>
                    </a:cubicBez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5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99" b="0" i="0" u="none" strike="noStrike" kern="0" cap="none" spc="0" normalizeH="0" baseline="0" noProof="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1" name="Freeform 800"/>
              <p:cNvSpPr/>
              <p:nvPr/>
            </p:nvSpPr>
            <p:spPr>
              <a:xfrm>
                <a:off x="8576999" y="1049038"/>
                <a:ext cx="1519656" cy="1519652"/>
              </a:xfrm>
              <a:custGeom>
                <a:avLst/>
                <a:gdLst>
                  <a:gd name="connsiteX0" fmla="*/ 93115 w 1243081"/>
                  <a:gd name="connsiteY0" fmla="*/ 39574 h 1243078"/>
                  <a:gd name="connsiteX1" fmla="*/ 84364 w 1243081"/>
                  <a:gd name="connsiteY1" fmla="*/ 41341 h 1243078"/>
                  <a:gd name="connsiteX2" fmla="*/ 37097 w 1243081"/>
                  <a:gd name="connsiteY2" fmla="*/ 41341 h 1243078"/>
                  <a:gd name="connsiteX3" fmla="*/ 37097 w 1243081"/>
                  <a:gd name="connsiteY3" fmla="*/ 1201739 h 1243078"/>
                  <a:gd name="connsiteX4" fmla="*/ 1205984 w 1243081"/>
                  <a:gd name="connsiteY4" fmla="*/ 1201739 h 1243078"/>
                  <a:gd name="connsiteX5" fmla="*/ 1205984 w 1243081"/>
                  <a:gd name="connsiteY5" fmla="*/ 41341 h 1243078"/>
                  <a:gd name="connsiteX6" fmla="*/ 101866 w 1243081"/>
                  <a:gd name="connsiteY6" fmla="*/ 41341 h 1243078"/>
                  <a:gd name="connsiteX7" fmla="*/ 0 w 1243081"/>
                  <a:gd name="connsiteY7" fmla="*/ 0 h 1243078"/>
                  <a:gd name="connsiteX8" fmla="*/ 1243081 w 1243081"/>
                  <a:gd name="connsiteY8" fmla="*/ 0 h 1243078"/>
                  <a:gd name="connsiteX9" fmla="*/ 1243081 w 1243081"/>
                  <a:gd name="connsiteY9" fmla="*/ 1243078 h 1243078"/>
                  <a:gd name="connsiteX10" fmla="*/ 0 w 1243081"/>
                  <a:gd name="connsiteY10" fmla="*/ 1243078 h 1243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43081" h="1243078">
                    <a:moveTo>
                      <a:pt x="93115" y="39574"/>
                    </a:moveTo>
                    <a:lnTo>
                      <a:pt x="84364" y="41341"/>
                    </a:lnTo>
                    <a:lnTo>
                      <a:pt x="37097" y="41341"/>
                    </a:lnTo>
                    <a:lnTo>
                      <a:pt x="37097" y="1201739"/>
                    </a:lnTo>
                    <a:lnTo>
                      <a:pt x="1205984" y="1201739"/>
                    </a:lnTo>
                    <a:lnTo>
                      <a:pt x="1205984" y="41341"/>
                    </a:lnTo>
                    <a:lnTo>
                      <a:pt x="101866" y="41341"/>
                    </a:lnTo>
                    <a:close/>
                    <a:moveTo>
                      <a:pt x="0" y="0"/>
                    </a:moveTo>
                    <a:lnTo>
                      <a:pt x="1243081" y="0"/>
                    </a:lnTo>
                    <a:lnTo>
                      <a:pt x="1243081" y="1243078"/>
                    </a:lnTo>
                    <a:lnTo>
                      <a:pt x="0" y="1243078"/>
                    </a:ln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5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99" b="0" i="0" u="none" strike="noStrike" kern="0" cap="none" spc="0" normalizeH="0" baseline="0" noProof="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05" name="Freeform 404"/>
            <p:cNvSpPr/>
            <p:nvPr/>
          </p:nvSpPr>
          <p:spPr>
            <a:xfrm rot="18900000">
              <a:off x="2247362" y="2901538"/>
              <a:ext cx="196850" cy="751190"/>
            </a:xfrm>
            <a:custGeom>
              <a:avLst/>
              <a:gdLst>
                <a:gd name="connsiteX0" fmla="*/ 482600 w 482600"/>
                <a:gd name="connsiteY0" fmla="*/ 0 h 1758950"/>
                <a:gd name="connsiteX1" fmla="*/ 0 w 482600"/>
                <a:gd name="connsiteY1" fmla="*/ 488950 h 1758950"/>
                <a:gd name="connsiteX2" fmla="*/ 0 w 482600"/>
                <a:gd name="connsiteY2" fmla="*/ 1517650 h 1758950"/>
                <a:gd name="connsiteX3" fmla="*/ 196850 w 482600"/>
                <a:gd name="connsiteY3" fmla="*/ 1701800 h 1758950"/>
                <a:gd name="connsiteX4" fmla="*/ 196850 w 482600"/>
                <a:gd name="connsiteY4" fmla="*/ 1758950 h 1758950"/>
                <a:gd name="connsiteX0" fmla="*/ 482600 w 482600"/>
                <a:gd name="connsiteY0" fmla="*/ 0 h 1758950"/>
                <a:gd name="connsiteX1" fmla="*/ 0 w 482600"/>
                <a:gd name="connsiteY1" fmla="*/ 488950 h 1758950"/>
                <a:gd name="connsiteX2" fmla="*/ 3767 w 482600"/>
                <a:gd name="connsiteY2" fmla="*/ 1007760 h 1758950"/>
                <a:gd name="connsiteX3" fmla="*/ 0 w 482600"/>
                <a:gd name="connsiteY3" fmla="*/ 1517650 h 1758950"/>
                <a:gd name="connsiteX4" fmla="*/ 196850 w 482600"/>
                <a:gd name="connsiteY4" fmla="*/ 1701800 h 1758950"/>
                <a:gd name="connsiteX5" fmla="*/ 196850 w 482600"/>
                <a:gd name="connsiteY5" fmla="*/ 1758950 h 1758950"/>
                <a:gd name="connsiteX0" fmla="*/ 0 w 196850"/>
                <a:gd name="connsiteY0" fmla="*/ 0 h 1270000"/>
                <a:gd name="connsiteX1" fmla="*/ 3767 w 196850"/>
                <a:gd name="connsiteY1" fmla="*/ 518810 h 1270000"/>
                <a:gd name="connsiteX2" fmla="*/ 0 w 196850"/>
                <a:gd name="connsiteY2" fmla="*/ 1028700 h 1270000"/>
                <a:gd name="connsiteX3" fmla="*/ 196850 w 196850"/>
                <a:gd name="connsiteY3" fmla="*/ 1212850 h 1270000"/>
                <a:gd name="connsiteX4" fmla="*/ 196850 w 196850"/>
                <a:gd name="connsiteY4" fmla="*/ 1270000 h 1270000"/>
                <a:gd name="connsiteX0" fmla="*/ 3767 w 196850"/>
                <a:gd name="connsiteY0" fmla="*/ 0 h 751190"/>
                <a:gd name="connsiteX1" fmla="*/ 0 w 196850"/>
                <a:gd name="connsiteY1" fmla="*/ 509890 h 751190"/>
                <a:gd name="connsiteX2" fmla="*/ 196850 w 196850"/>
                <a:gd name="connsiteY2" fmla="*/ 694040 h 751190"/>
                <a:gd name="connsiteX3" fmla="*/ 196850 w 196850"/>
                <a:gd name="connsiteY3" fmla="*/ 751190 h 75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850" h="751190">
                  <a:moveTo>
                    <a:pt x="3767" y="0"/>
                  </a:moveTo>
                  <a:cubicBezTo>
                    <a:pt x="2511" y="169963"/>
                    <a:pt x="1256" y="339927"/>
                    <a:pt x="0" y="509890"/>
                  </a:cubicBezTo>
                  <a:lnTo>
                    <a:pt x="196850" y="694040"/>
                  </a:lnTo>
                  <a:lnTo>
                    <a:pt x="196850" y="75119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6" name="Freeform 405"/>
            <p:cNvSpPr/>
            <p:nvPr/>
          </p:nvSpPr>
          <p:spPr>
            <a:xfrm rot="18900000">
              <a:off x="2365892" y="2709003"/>
              <a:ext cx="317500" cy="1089859"/>
            </a:xfrm>
            <a:custGeom>
              <a:avLst/>
              <a:gdLst>
                <a:gd name="connsiteX0" fmla="*/ 565150 w 565150"/>
                <a:gd name="connsiteY0" fmla="*/ 0 h 2044700"/>
                <a:gd name="connsiteX1" fmla="*/ 63500 w 565150"/>
                <a:gd name="connsiteY1" fmla="*/ 533400 h 2044700"/>
                <a:gd name="connsiteX2" fmla="*/ 63500 w 565150"/>
                <a:gd name="connsiteY2" fmla="*/ 1511300 h 2044700"/>
                <a:gd name="connsiteX3" fmla="*/ 317500 w 565150"/>
                <a:gd name="connsiteY3" fmla="*/ 1765300 h 2044700"/>
                <a:gd name="connsiteX4" fmla="*/ 317500 w 565150"/>
                <a:gd name="connsiteY4" fmla="*/ 1803400 h 2044700"/>
                <a:gd name="connsiteX5" fmla="*/ 63500 w 565150"/>
                <a:gd name="connsiteY5" fmla="*/ 2044700 h 2044700"/>
                <a:gd name="connsiteX6" fmla="*/ 0 w 565150"/>
                <a:gd name="connsiteY6" fmla="*/ 2044700 h 2044700"/>
                <a:gd name="connsiteX0" fmla="*/ 565150 w 565150"/>
                <a:gd name="connsiteY0" fmla="*/ 0 h 2044700"/>
                <a:gd name="connsiteX1" fmla="*/ 63500 w 565150"/>
                <a:gd name="connsiteY1" fmla="*/ 533400 h 2044700"/>
                <a:gd name="connsiteX2" fmla="*/ 55922 w 565150"/>
                <a:gd name="connsiteY2" fmla="*/ 954841 h 2044700"/>
                <a:gd name="connsiteX3" fmla="*/ 63500 w 565150"/>
                <a:gd name="connsiteY3" fmla="*/ 1511300 h 2044700"/>
                <a:gd name="connsiteX4" fmla="*/ 317500 w 565150"/>
                <a:gd name="connsiteY4" fmla="*/ 1765300 h 2044700"/>
                <a:gd name="connsiteX5" fmla="*/ 317500 w 565150"/>
                <a:gd name="connsiteY5" fmla="*/ 1803400 h 2044700"/>
                <a:gd name="connsiteX6" fmla="*/ 63500 w 565150"/>
                <a:gd name="connsiteY6" fmla="*/ 2044700 h 2044700"/>
                <a:gd name="connsiteX7" fmla="*/ 0 w 565150"/>
                <a:gd name="connsiteY7" fmla="*/ 2044700 h 2044700"/>
                <a:gd name="connsiteX0" fmla="*/ 63500 w 317500"/>
                <a:gd name="connsiteY0" fmla="*/ 0 h 1511300"/>
                <a:gd name="connsiteX1" fmla="*/ 55922 w 317500"/>
                <a:gd name="connsiteY1" fmla="*/ 421441 h 1511300"/>
                <a:gd name="connsiteX2" fmla="*/ 63500 w 317500"/>
                <a:gd name="connsiteY2" fmla="*/ 977900 h 1511300"/>
                <a:gd name="connsiteX3" fmla="*/ 317500 w 317500"/>
                <a:gd name="connsiteY3" fmla="*/ 1231900 h 1511300"/>
                <a:gd name="connsiteX4" fmla="*/ 317500 w 317500"/>
                <a:gd name="connsiteY4" fmla="*/ 1270000 h 1511300"/>
                <a:gd name="connsiteX5" fmla="*/ 63500 w 317500"/>
                <a:gd name="connsiteY5" fmla="*/ 1511300 h 1511300"/>
                <a:gd name="connsiteX6" fmla="*/ 0 w 317500"/>
                <a:gd name="connsiteY6" fmla="*/ 1511300 h 1511300"/>
                <a:gd name="connsiteX0" fmla="*/ 55922 w 317500"/>
                <a:gd name="connsiteY0" fmla="*/ 0 h 1089859"/>
                <a:gd name="connsiteX1" fmla="*/ 63500 w 317500"/>
                <a:gd name="connsiteY1" fmla="*/ 556459 h 1089859"/>
                <a:gd name="connsiteX2" fmla="*/ 317500 w 317500"/>
                <a:gd name="connsiteY2" fmla="*/ 810459 h 1089859"/>
                <a:gd name="connsiteX3" fmla="*/ 317500 w 317500"/>
                <a:gd name="connsiteY3" fmla="*/ 848559 h 1089859"/>
                <a:gd name="connsiteX4" fmla="*/ 63500 w 317500"/>
                <a:gd name="connsiteY4" fmla="*/ 1089859 h 1089859"/>
                <a:gd name="connsiteX5" fmla="*/ 0 w 317500"/>
                <a:gd name="connsiteY5" fmla="*/ 1089859 h 1089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" h="1089859">
                  <a:moveTo>
                    <a:pt x="55922" y="0"/>
                  </a:moveTo>
                  <a:lnTo>
                    <a:pt x="63500" y="556459"/>
                  </a:lnTo>
                  <a:lnTo>
                    <a:pt x="317500" y="810459"/>
                  </a:lnTo>
                  <a:lnTo>
                    <a:pt x="317500" y="848559"/>
                  </a:lnTo>
                  <a:lnTo>
                    <a:pt x="63500" y="1089859"/>
                  </a:lnTo>
                  <a:lnTo>
                    <a:pt x="0" y="1089859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7" name="Freeform 406"/>
            <p:cNvSpPr/>
            <p:nvPr/>
          </p:nvSpPr>
          <p:spPr>
            <a:xfrm rot="18900000">
              <a:off x="2402854" y="2672778"/>
              <a:ext cx="400050" cy="1255922"/>
            </a:xfrm>
            <a:custGeom>
              <a:avLst/>
              <a:gdLst>
                <a:gd name="connsiteX0" fmla="*/ 641350 w 641350"/>
                <a:gd name="connsiteY0" fmla="*/ 0 h 2203450"/>
                <a:gd name="connsiteX1" fmla="*/ 133350 w 641350"/>
                <a:gd name="connsiteY1" fmla="*/ 527050 h 2203450"/>
                <a:gd name="connsiteX2" fmla="*/ 133350 w 641350"/>
                <a:gd name="connsiteY2" fmla="*/ 1473200 h 2203450"/>
                <a:gd name="connsiteX3" fmla="*/ 400050 w 641350"/>
                <a:gd name="connsiteY3" fmla="*/ 1739900 h 2203450"/>
                <a:gd name="connsiteX4" fmla="*/ 400050 w 641350"/>
                <a:gd name="connsiteY4" fmla="*/ 1803400 h 2203450"/>
                <a:gd name="connsiteX5" fmla="*/ 0 w 641350"/>
                <a:gd name="connsiteY5" fmla="*/ 2203450 h 2203450"/>
                <a:gd name="connsiteX0" fmla="*/ 641350 w 641350"/>
                <a:gd name="connsiteY0" fmla="*/ 0 h 2203450"/>
                <a:gd name="connsiteX1" fmla="*/ 133350 w 641350"/>
                <a:gd name="connsiteY1" fmla="*/ 527050 h 2203450"/>
                <a:gd name="connsiteX2" fmla="*/ 134242 w 641350"/>
                <a:gd name="connsiteY2" fmla="*/ 947528 h 2203450"/>
                <a:gd name="connsiteX3" fmla="*/ 133350 w 641350"/>
                <a:gd name="connsiteY3" fmla="*/ 1473200 h 2203450"/>
                <a:gd name="connsiteX4" fmla="*/ 400050 w 641350"/>
                <a:gd name="connsiteY4" fmla="*/ 1739900 h 2203450"/>
                <a:gd name="connsiteX5" fmla="*/ 400050 w 641350"/>
                <a:gd name="connsiteY5" fmla="*/ 1803400 h 2203450"/>
                <a:gd name="connsiteX6" fmla="*/ 0 w 641350"/>
                <a:gd name="connsiteY6" fmla="*/ 2203450 h 2203450"/>
                <a:gd name="connsiteX0" fmla="*/ 133350 w 400050"/>
                <a:gd name="connsiteY0" fmla="*/ 0 h 1676400"/>
                <a:gd name="connsiteX1" fmla="*/ 134242 w 400050"/>
                <a:gd name="connsiteY1" fmla="*/ 420478 h 1676400"/>
                <a:gd name="connsiteX2" fmla="*/ 133350 w 400050"/>
                <a:gd name="connsiteY2" fmla="*/ 946150 h 1676400"/>
                <a:gd name="connsiteX3" fmla="*/ 400050 w 400050"/>
                <a:gd name="connsiteY3" fmla="*/ 1212850 h 1676400"/>
                <a:gd name="connsiteX4" fmla="*/ 400050 w 400050"/>
                <a:gd name="connsiteY4" fmla="*/ 1276350 h 1676400"/>
                <a:gd name="connsiteX5" fmla="*/ 0 w 400050"/>
                <a:gd name="connsiteY5" fmla="*/ 1676400 h 1676400"/>
                <a:gd name="connsiteX0" fmla="*/ 134242 w 400050"/>
                <a:gd name="connsiteY0" fmla="*/ 0 h 1255922"/>
                <a:gd name="connsiteX1" fmla="*/ 133350 w 400050"/>
                <a:gd name="connsiteY1" fmla="*/ 525672 h 1255922"/>
                <a:gd name="connsiteX2" fmla="*/ 400050 w 400050"/>
                <a:gd name="connsiteY2" fmla="*/ 792372 h 1255922"/>
                <a:gd name="connsiteX3" fmla="*/ 400050 w 400050"/>
                <a:gd name="connsiteY3" fmla="*/ 855872 h 1255922"/>
                <a:gd name="connsiteX4" fmla="*/ 0 w 400050"/>
                <a:gd name="connsiteY4" fmla="*/ 1255922 h 1255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1255922">
                  <a:moveTo>
                    <a:pt x="134242" y="0"/>
                  </a:moveTo>
                  <a:cubicBezTo>
                    <a:pt x="133945" y="175224"/>
                    <a:pt x="133647" y="350448"/>
                    <a:pt x="133350" y="525672"/>
                  </a:cubicBezTo>
                  <a:lnTo>
                    <a:pt x="400050" y="792372"/>
                  </a:lnTo>
                  <a:lnTo>
                    <a:pt x="400050" y="855872"/>
                  </a:lnTo>
                  <a:lnTo>
                    <a:pt x="0" y="125592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8" name="Freeform 407"/>
            <p:cNvSpPr/>
            <p:nvPr/>
          </p:nvSpPr>
          <p:spPr>
            <a:xfrm rot="18900000">
              <a:off x="2460286" y="2603892"/>
              <a:ext cx="298450" cy="106571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509 w 533400"/>
                <a:gd name="connsiteY2" fmla="*/ 931364 h 1997075"/>
                <a:gd name="connsiteX3" fmla="*/ 0 w 533400"/>
                <a:gd name="connsiteY3" fmla="*/ 1450975 h 1997075"/>
                <a:gd name="connsiteX4" fmla="*/ 298450 w 533400"/>
                <a:gd name="connsiteY4" fmla="*/ 1749425 h 1997075"/>
                <a:gd name="connsiteX5" fmla="*/ 298450 w 533400"/>
                <a:gd name="connsiteY5" fmla="*/ 1828800 h 1997075"/>
                <a:gd name="connsiteX6" fmla="*/ 130175 w 533400"/>
                <a:gd name="connsiteY6" fmla="*/ 1997075 h 1997075"/>
                <a:gd name="connsiteX0" fmla="*/ 0 w 298450"/>
                <a:gd name="connsiteY0" fmla="*/ 0 h 1457325"/>
                <a:gd name="connsiteX1" fmla="*/ 509 w 298450"/>
                <a:gd name="connsiteY1" fmla="*/ 391614 h 1457325"/>
                <a:gd name="connsiteX2" fmla="*/ 0 w 298450"/>
                <a:gd name="connsiteY2" fmla="*/ 911225 h 1457325"/>
                <a:gd name="connsiteX3" fmla="*/ 298450 w 298450"/>
                <a:gd name="connsiteY3" fmla="*/ 1209675 h 1457325"/>
                <a:gd name="connsiteX4" fmla="*/ 298450 w 298450"/>
                <a:gd name="connsiteY4" fmla="*/ 1289050 h 1457325"/>
                <a:gd name="connsiteX5" fmla="*/ 130175 w 298450"/>
                <a:gd name="connsiteY5" fmla="*/ 1457325 h 1457325"/>
                <a:gd name="connsiteX0" fmla="*/ 509 w 298450"/>
                <a:gd name="connsiteY0" fmla="*/ 0 h 1065711"/>
                <a:gd name="connsiteX1" fmla="*/ 0 w 298450"/>
                <a:gd name="connsiteY1" fmla="*/ 519611 h 1065711"/>
                <a:gd name="connsiteX2" fmla="*/ 298450 w 298450"/>
                <a:gd name="connsiteY2" fmla="*/ 818061 h 1065711"/>
                <a:gd name="connsiteX3" fmla="*/ 298450 w 298450"/>
                <a:gd name="connsiteY3" fmla="*/ 897436 h 1065711"/>
                <a:gd name="connsiteX4" fmla="*/ 130175 w 298450"/>
                <a:gd name="connsiteY4" fmla="*/ 1065711 h 1065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450" h="1065711">
                  <a:moveTo>
                    <a:pt x="509" y="0"/>
                  </a:moveTo>
                  <a:cubicBezTo>
                    <a:pt x="339" y="173204"/>
                    <a:pt x="170" y="346407"/>
                    <a:pt x="0" y="519611"/>
                  </a:cubicBezTo>
                  <a:lnTo>
                    <a:pt x="298450" y="818061"/>
                  </a:lnTo>
                  <a:lnTo>
                    <a:pt x="298450" y="897436"/>
                  </a:lnTo>
                  <a:lnTo>
                    <a:pt x="130175" y="106571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9" name="Freeform 408"/>
            <p:cNvSpPr/>
            <p:nvPr/>
          </p:nvSpPr>
          <p:spPr>
            <a:xfrm rot="18900000">
              <a:off x="2557564" y="2535981"/>
              <a:ext cx="310735" cy="123716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42510 w 542510"/>
                <a:gd name="connsiteY0" fmla="*/ 0 h 2168525"/>
                <a:gd name="connsiteX1" fmla="*/ 9110 w 542510"/>
                <a:gd name="connsiteY1" fmla="*/ 539750 h 2168525"/>
                <a:gd name="connsiteX2" fmla="*/ 0 w 542510"/>
                <a:gd name="connsiteY2" fmla="*/ 931364 h 2168525"/>
                <a:gd name="connsiteX3" fmla="*/ 9110 w 542510"/>
                <a:gd name="connsiteY3" fmla="*/ 1450975 h 2168525"/>
                <a:gd name="connsiteX4" fmla="*/ 307560 w 542510"/>
                <a:gd name="connsiteY4" fmla="*/ 1749425 h 2168525"/>
                <a:gd name="connsiteX5" fmla="*/ 310735 w 542510"/>
                <a:gd name="connsiteY5" fmla="*/ 1873250 h 2168525"/>
                <a:gd name="connsiteX6" fmla="*/ 18635 w 542510"/>
                <a:gd name="connsiteY6" fmla="*/ 2168525 h 2168525"/>
                <a:gd name="connsiteX0" fmla="*/ 9110 w 310735"/>
                <a:gd name="connsiteY0" fmla="*/ 0 h 1628775"/>
                <a:gd name="connsiteX1" fmla="*/ 0 w 310735"/>
                <a:gd name="connsiteY1" fmla="*/ 391614 h 1628775"/>
                <a:gd name="connsiteX2" fmla="*/ 9110 w 310735"/>
                <a:gd name="connsiteY2" fmla="*/ 911225 h 1628775"/>
                <a:gd name="connsiteX3" fmla="*/ 307560 w 310735"/>
                <a:gd name="connsiteY3" fmla="*/ 1209675 h 1628775"/>
                <a:gd name="connsiteX4" fmla="*/ 310735 w 310735"/>
                <a:gd name="connsiteY4" fmla="*/ 1333500 h 1628775"/>
                <a:gd name="connsiteX5" fmla="*/ 18635 w 310735"/>
                <a:gd name="connsiteY5" fmla="*/ 1628775 h 1628775"/>
                <a:gd name="connsiteX0" fmla="*/ 0 w 310735"/>
                <a:gd name="connsiteY0" fmla="*/ 0 h 1237161"/>
                <a:gd name="connsiteX1" fmla="*/ 9110 w 310735"/>
                <a:gd name="connsiteY1" fmla="*/ 519611 h 1237161"/>
                <a:gd name="connsiteX2" fmla="*/ 307560 w 310735"/>
                <a:gd name="connsiteY2" fmla="*/ 818061 h 1237161"/>
                <a:gd name="connsiteX3" fmla="*/ 310735 w 310735"/>
                <a:gd name="connsiteY3" fmla="*/ 941886 h 1237161"/>
                <a:gd name="connsiteX4" fmla="*/ 18635 w 310735"/>
                <a:gd name="connsiteY4" fmla="*/ 1237161 h 123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735" h="1237161">
                  <a:moveTo>
                    <a:pt x="0" y="0"/>
                  </a:moveTo>
                  <a:lnTo>
                    <a:pt x="9110" y="519611"/>
                  </a:lnTo>
                  <a:lnTo>
                    <a:pt x="307560" y="818061"/>
                  </a:lnTo>
                  <a:cubicBezTo>
                    <a:pt x="308618" y="859336"/>
                    <a:pt x="309677" y="900611"/>
                    <a:pt x="310735" y="941886"/>
                  </a:cubicBezTo>
                  <a:lnTo>
                    <a:pt x="18635" y="123716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0" name="Freeform 409"/>
            <p:cNvSpPr/>
            <p:nvPr/>
          </p:nvSpPr>
          <p:spPr>
            <a:xfrm rot="18900000">
              <a:off x="2525609" y="2512139"/>
              <a:ext cx="301625" cy="1019337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33400 w 533400"/>
                <a:gd name="connsiteY0" fmla="*/ 0 h 1873250"/>
                <a:gd name="connsiteX1" fmla="*/ 0 w 533400"/>
                <a:gd name="connsiteY1" fmla="*/ 539750 h 1873250"/>
                <a:gd name="connsiteX2" fmla="*/ 0 w 533400"/>
                <a:gd name="connsiteY2" fmla="*/ 1450975 h 1873250"/>
                <a:gd name="connsiteX3" fmla="*/ 298450 w 533400"/>
                <a:gd name="connsiteY3" fmla="*/ 1749425 h 1873250"/>
                <a:gd name="connsiteX4" fmla="*/ 301625 w 533400"/>
                <a:gd name="connsiteY4" fmla="*/ 1873250 h 1873250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0 w 533400"/>
                <a:gd name="connsiteY2" fmla="*/ 1450975 h 1939925"/>
                <a:gd name="connsiteX3" fmla="*/ 298450 w 533400"/>
                <a:gd name="connsiteY3" fmla="*/ 1749425 h 1939925"/>
                <a:gd name="connsiteX4" fmla="*/ 301625 w 533400"/>
                <a:gd name="connsiteY4" fmla="*/ 1939925 h 1939925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2824 w 533400"/>
                <a:gd name="connsiteY2" fmla="*/ 920588 h 1939925"/>
                <a:gd name="connsiteX3" fmla="*/ 0 w 533400"/>
                <a:gd name="connsiteY3" fmla="*/ 1450975 h 1939925"/>
                <a:gd name="connsiteX4" fmla="*/ 298450 w 533400"/>
                <a:gd name="connsiteY4" fmla="*/ 1749425 h 1939925"/>
                <a:gd name="connsiteX5" fmla="*/ 301625 w 533400"/>
                <a:gd name="connsiteY5" fmla="*/ 1939925 h 1939925"/>
                <a:gd name="connsiteX0" fmla="*/ 0 w 301625"/>
                <a:gd name="connsiteY0" fmla="*/ 0 h 1400175"/>
                <a:gd name="connsiteX1" fmla="*/ 2824 w 301625"/>
                <a:gd name="connsiteY1" fmla="*/ 380838 h 1400175"/>
                <a:gd name="connsiteX2" fmla="*/ 0 w 301625"/>
                <a:gd name="connsiteY2" fmla="*/ 911225 h 1400175"/>
                <a:gd name="connsiteX3" fmla="*/ 298450 w 301625"/>
                <a:gd name="connsiteY3" fmla="*/ 1209675 h 1400175"/>
                <a:gd name="connsiteX4" fmla="*/ 301625 w 301625"/>
                <a:gd name="connsiteY4" fmla="*/ 1400175 h 1400175"/>
                <a:gd name="connsiteX0" fmla="*/ 2824 w 301625"/>
                <a:gd name="connsiteY0" fmla="*/ 0 h 1019337"/>
                <a:gd name="connsiteX1" fmla="*/ 0 w 301625"/>
                <a:gd name="connsiteY1" fmla="*/ 530387 h 1019337"/>
                <a:gd name="connsiteX2" fmla="*/ 298450 w 301625"/>
                <a:gd name="connsiteY2" fmla="*/ 828837 h 1019337"/>
                <a:gd name="connsiteX3" fmla="*/ 301625 w 301625"/>
                <a:gd name="connsiteY3" fmla="*/ 1019337 h 101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625" h="1019337">
                  <a:moveTo>
                    <a:pt x="2824" y="0"/>
                  </a:moveTo>
                  <a:cubicBezTo>
                    <a:pt x="1883" y="176796"/>
                    <a:pt x="941" y="353591"/>
                    <a:pt x="0" y="530387"/>
                  </a:cubicBezTo>
                  <a:lnTo>
                    <a:pt x="298450" y="828837"/>
                  </a:lnTo>
                  <a:cubicBezTo>
                    <a:pt x="299508" y="870112"/>
                    <a:pt x="300567" y="978062"/>
                    <a:pt x="301625" y="1019337"/>
                  </a:cubicBez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1" name="Freeform 410"/>
            <p:cNvSpPr/>
            <p:nvPr/>
          </p:nvSpPr>
          <p:spPr>
            <a:xfrm rot="18900000">
              <a:off x="2652664" y="2405480"/>
              <a:ext cx="301778" cy="126535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33400 w 533400"/>
                <a:gd name="connsiteY0" fmla="*/ 0 h 1873250"/>
                <a:gd name="connsiteX1" fmla="*/ 0 w 533400"/>
                <a:gd name="connsiteY1" fmla="*/ 539750 h 1873250"/>
                <a:gd name="connsiteX2" fmla="*/ 0 w 533400"/>
                <a:gd name="connsiteY2" fmla="*/ 1450975 h 1873250"/>
                <a:gd name="connsiteX3" fmla="*/ 298450 w 533400"/>
                <a:gd name="connsiteY3" fmla="*/ 1749425 h 1873250"/>
                <a:gd name="connsiteX4" fmla="*/ 301625 w 533400"/>
                <a:gd name="connsiteY4" fmla="*/ 1873250 h 1873250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0 w 533400"/>
                <a:gd name="connsiteY2" fmla="*/ 1450975 h 1939925"/>
                <a:gd name="connsiteX3" fmla="*/ 298450 w 533400"/>
                <a:gd name="connsiteY3" fmla="*/ 1749425 h 1939925"/>
                <a:gd name="connsiteX4" fmla="*/ 301625 w 533400"/>
                <a:gd name="connsiteY4" fmla="*/ 1939925 h 193992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298450 w 533400"/>
                <a:gd name="connsiteY4" fmla="*/ 2012950 h 2159000"/>
                <a:gd name="connsiteX5" fmla="*/ 53975 w 533400"/>
                <a:gd name="connsiteY5" fmla="*/ 2159000 h 2159000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301625 w 533400"/>
                <a:gd name="connsiteY4" fmla="*/ 2130425 h 2159000"/>
                <a:gd name="connsiteX5" fmla="*/ 53975 w 533400"/>
                <a:gd name="connsiteY5" fmla="*/ 2159000 h 2159000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301625 w 533400"/>
                <a:gd name="connsiteY4" fmla="*/ 2130425 h 2159000"/>
                <a:gd name="connsiteX5" fmla="*/ 177800 w 533400"/>
                <a:gd name="connsiteY5" fmla="*/ 2143124 h 2159000"/>
                <a:gd name="connsiteX6" fmla="*/ 53975 w 533400"/>
                <a:gd name="connsiteY6" fmla="*/ 2159000 h 2159000"/>
                <a:gd name="connsiteX0" fmla="*/ 533400 w 533400"/>
                <a:gd name="connsiteY0" fmla="*/ 0 h 2174874"/>
                <a:gd name="connsiteX1" fmla="*/ 0 w 533400"/>
                <a:gd name="connsiteY1" fmla="*/ 539750 h 2174874"/>
                <a:gd name="connsiteX2" fmla="*/ 0 w 533400"/>
                <a:gd name="connsiteY2" fmla="*/ 1450975 h 2174874"/>
                <a:gd name="connsiteX3" fmla="*/ 298450 w 533400"/>
                <a:gd name="connsiteY3" fmla="*/ 1749425 h 2174874"/>
                <a:gd name="connsiteX4" fmla="*/ 301625 w 533400"/>
                <a:gd name="connsiteY4" fmla="*/ 2130425 h 2174874"/>
                <a:gd name="connsiteX5" fmla="*/ 257175 w 533400"/>
                <a:gd name="connsiteY5" fmla="*/ 2174874 h 2174874"/>
                <a:gd name="connsiteX6" fmla="*/ 53975 w 533400"/>
                <a:gd name="connsiteY6" fmla="*/ 2159000 h 2174874"/>
                <a:gd name="connsiteX0" fmla="*/ 533400 w 533400"/>
                <a:gd name="connsiteY0" fmla="*/ 0 h 2181225"/>
                <a:gd name="connsiteX1" fmla="*/ 0 w 533400"/>
                <a:gd name="connsiteY1" fmla="*/ 539750 h 2181225"/>
                <a:gd name="connsiteX2" fmla="*/ 0 w 533400"/>
                <a:gd name="connsiteY2" fmla="*/ 1450975 h 2181225"/>
                <a:gd name="connsiteX3" fmla="*/ 298450 w 533400"/>
                <a:gd name="connsiteY3" fmla="*/ 1749425 h 2181225"/>
                <a:gd name="connsiteX4" fmla="*/ 301625 w 533400"/>
                <a:gd name="connsiteY4" fmla="*/ 2130425 h 2181225"/>
                <a:gd name="connsiteX5" fmla="*/ 257175 w 533400"/>
                <a:gd name="connsiteY5" fmla="*/ 2174874 h 2181225"/>
                <a:gd name="connsiteX6" fmla="*/ 50800 w 533400"/>
                <a:gd name="connsiteY6" fmla="*/ 2181225 h 2181225"/>
                <a:gd name="connsiteX0" fmla="*/ 0 w 301625"/>
                <a:gd name="connsiteY0" fmla="*/ 0 h 1641475"/>
                <a:gd name="connsiteX1" fmla="*/ 0 w 301625"/>
                <a:gd name="connsiteY1" fmla="*/ 911225 h 1641475"/>
                <a:gd name="connsiteX2" fmla="*/ 298450 w 301625"/>
                <a:gd name="connsiteY2" fmla="*/ 1209675 h 1641475"/>
                <a:gd name="connsiteX3" fmla="*/ 301625 w 301625"/>
                <a:gd name="connsiteY3" fmla="*/ 1590675 h 1641475"/>
                <a:gd name="connsiteX4" fmla="*/ 257175 w 301625"/>
                <a:gd name="connsiteY4" fmla="*/ 1635124 h 1641475"/>
                <a:gd name="connsiteX5" fmla="*/ 50800 w 301625"/>
                <a:gd name="connsiteY5" fmla="*/ 1641475 h 1641475"/>
                <a:gd name="connsiteX0" fmla="*/ 153 w 301778"/>
                <a:gd name="connsiteY0" fmla="*/ 0 h 1641475"/>
                <a:gd name="connsiteX1" fmla="*/ 0 w 301778"/>
                <a:gd name="connsiteY1" fmla="*/ 376124 h 1641475"/>
                <a:gd name="connsiteX2" fmla="*/ 153 w 301778"/>
                <a:gd name="connsiteY2" fmla="*/ 911225 h 1641475"/>
                <a:gd name="connsiteX3" fmla="*/ 298603 w 301778"/>
                <a:gd name="connsiteY3" fmla="*/ 1209675 h 1641475"/>
                <a:gd name="connsiteX4" fmla="*/ 301778 w 301778"/>
                <a:gd name="connsiteY4" fmla="*/ 1590675 h 1641475"/>
                <a:gd name="connsiteX5" fmla="*/ 257328 w 301778"/>
                <a:gd name="connsiteY5" fmla="*/ 1635124 h 1641475"/>
                <a:gd name="connsiteX6" fmla="*/ 50953 w 301778"/>
                <a:gd name="connsiteY6" fmla="*/ 1641475 h 1641475"/>
                <a:gd name="connsiteX0" fmla="*/ 0 w 301778"/>
                <a:gd name="connsiteY0" fmla="*/ 0 h 1265351"/>
                <a:gd name="connsiteX1" fmla="*/ 153 w 301778"/>
                <a:gd name="connsiteY1" fmla="*/ 535101 h 1265351"/>
                <a:gd name="connsiteX2" fmla="*/ 298603 w 301778"/>
                <a:gd name="connsiteY2" fmla="*/ 833551 h 1265351"/>
                <a:gd name="connsiteX3" fmla="*/ 301778 w 301778"/>
                <a:gd name="connsiteY3" fmla="*/ 1214551 h 1265351"/>
                <a:gd name="connsiteX4" fmla="*/ 257328 w 301778"/>
                <a:gd name="connsiteY4" fmla="*/ 1259000 h 1265351"/>
                <a:gd name="connsiteX5" fmla="*/ 50953 w 301778"/>
                <a:gd name="connsiteY5" fmla="*/ 1265351 h 1265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1778" h="1265351">
                  <a:moveTo>
                    <a:pt x="0" y="0"/>
                  </a:moveTo>
                  <a:lnTo>
                    <a:pt x="153" y="535101"/>
                  </a:lnTo>
                  <a:lnTo>
                    <a:pt x="298603" y="833551"/>
                  </a:lnTo>
                  <a:cubicBezTo>
                    <a:pt x="299661" y="960551"/>
                    <a:pt x="300720" y="1087551"/>
                    <a:pt x="301778" y="1214551"/>
                  </a:cubicBezTo>
                  <a:lnTo>
                    <a:pt x="257328" y="1259000"/>
                  </a:lnTo>
                  <a:lnTo>
                    <a:pt x="50953" y="126535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2" name="Freeform 411"/>
            <p:cNvSpPr/>
            <p:nvPr/>
          </p:nvSpPr>
          <p:spPr>
            <a:xfrm rot="18900000">
              <a:off x="2651643" y="2230656"/>
              <a:ext cx="519112" cy="1198532"/>
            </a:xfrm>
            <a:custGeom>
              <a:avLst/>
              <a:gdLst>
                <a:gd name="connsiteX0" fmla="*/ 695325 w 695325"/>
                <a:gd name="connsiteY0" fmla="*/ 0 h 2100263"/>
                <a:gd name="connsiteX1" fmla="*/ 0 w 695325"/>
                <a:gd name="connsiteY1" fmla="*/ 695325 h 2100263"/>
                <a:gd name="connsiteX2" fmla="*/ 0 w 695325"/>
                <a:gd name="connsiteY2" fmla="*/ 1419225 h 2100263"/>
                <a:gd name="connsiteX3" fmla="*/ 471487 w 695325"/>
                <a:gd name="connsiteY3" fmla="*/ 1881188 h 2100263"/>
                <a:gd name="connsiteX4" fmla="*/ 471487 w 695325"/>
                <a:gd name="connsiteY4" fmla="*/ 2043113 h 2100263"/>
                <a:gd name="connsiteX5" fmla="*/ 519112 w 695325"/>
                <a:gd name="connsiteY5" fmla="*/ 2100263 h 2100263"/>
                <a:gd name="connsiteX0" fmla="*/ 695325 w 695325"/>
                <a:gd name="connsiteY0" fmla="*/ 0 h 2100263"/>
                <a:gd name="connsiteX1" fmla="*/ 0 w 695325"/>
                <a:gd name="connsiteY1" fmla="*/ 695325 h 2100263"/>
                <a:gd name="connsiteX2" fmla="*/ 9233 w 695325"/>
                <a:gd name="connsiteY2" fmla="*/ 901731 h 2100263"/>
                <a:gd name="connsiteX3" fmla="*/ 0 w 695325"/>
                <a:gd name="connsiteY3" fmla="*/ 1419225 h 2100263"/>
                <a:gd name="connsiteX4" fmla="*/ 471487 w 695325"/>
                <a:gd name="connsiteY4" fmla="*/ 1881188 h 2100263"/>
                <a:gd name="connsiteX5" fmla="*/ 471487 w 695325"/>
                <a:gd name="connsiteY5" fmla="*/ 2043113 h 2100263"/>
                <a:gd name="connsiteX6" fmla="*/ 519112 w 695325"/>
                <a:gd name="connsiteY6" fmla="*/ 2100263 h 2100263"/>
                <a:gd name="connsiteX0" fmla="*/ 0 w 519112"/>
                <a:gd name="connsiteY0" fmla="*/ 0 h 1404938"/>
                <a:gd name="connsiteX1" fmla="*/ 9233 w 519112"/>
                <a:gd name="connsiteY1" fmla="*/ 206406 h 1404938"/>
                <a:gd name="connsiteX2" fmla="*/ 0 w 519112"/>
                <a:gd name="connsiteY2" fmla="*/ 723900 h 1404938"/>
                <a:gd name="connsiteX3" fmla="*/ 471487 w 519112"/>
                <a:gd name="connsiteY3" fmla="*/ 1185863 h 1404938"/>
                <a:gd name="connsiteX4" fmla="*/ 471487 w 519112"/>
                <a:gd name="connsiteY4" fmla="*/ 1347788 h 1404938"/>
                <a:gd name="connsiteX5" fmla="*/ 519112 w 519112"/>
                <a:gd name="connsiteY5" fmla="*/ 1404938 h 1404938"/>
                <a:gd name="connsiteX0" fmla="*/ 9233 w 519112"/>
                <a:gd name="connsiteY0" fmla="*/ 0 h 1198532"/>
                <a:gd name="connsiteX1" fmla="*/ 0 w 519112"/>
                <a:gd name="connsiteY1" fmla="*/ 517494 h 1198532"/>
                <a:gd name="connsiteX2" fmla="*/ 471487 w 519112"/>
                <a:gd name="connsiteY2" fmla="*/ 979457 h 1198532"/>
                <a:gd name="connsiteX3" fmla="*/ 471487 w 519112"/>
                <a:gd name="connsiteY3" fmla="*/ 1141382 h 1198532"/>
                <a:gd name="connsiteX4" fmla="*/ 519112 w 519112"/>
                <a:gd name="connsiteY4" fmla="*/ 1198532 h 119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112" h="1198532">
                  <a:moveTo>
                    <a:pt x="9233" y="0"/>
                  </a:moveTo>
                  <a:lnTo>
                    <a:pt x="0" y="517494"/>
                  </a:lnTo>
                  <a:lnTo>
                    <a:pt x="471487" y="979457"/>
                  </a:lnTo>
                  <a:lnTo>
                    <a:pt x="471487" y="1141382"/>
                  </a:lnTo>
                  <a:lnTo>
                    <a:pt x="519112" y="119853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3" name="Freeform 412"/>
            <p:cNvSpPr/>
            <p:nvPr/>
          </p:nvSpPr>
          <p:spPr>
            <a:xfrm rot="8100000" flipV="1">
              <a:off x="4189564" y="-468324"/>
              <a:ext cx="819150" cy="3028950"/>
            </a:xfrm>
            <a:custGeom>
              <a:avLst/>
              <a:gdLst>
                <a:gd name="connsiteX0" fmla="*/ 819150 w 819150"/>
                <a:gd name="connsiteY0" fmla="*/ 0 h 3028950"/>
                <a:gd name="connsiteX1" fmla="*/ 19050 w 819150"/>
                <a:gd name="connsiteY1" fmla="*/ 806450 h 3028950"/>
                <a:gd name="connsiteX2" fmla="*/ 19050 w 819150"/>
                <a:gd name="connsiteY2" fmla="*/ 1219200 h 3028950"/>
                <a:gd name="connsiteX3" fmla="*/ 723900 w 819150"/>
                <a:gd name="connsiteY3" fmla="*/ 1924050 h 3028950"/>
                <a:gd name="connsiteX4" fmla="*/ 723900 w 819150"/>
                <a:gd name="connsiteY4" fmla="*/ 2095500 h 3028950"/>
                <a:gd name="connsiteX5" fmla="*/ 184150 w 819150"/>
                <a:gd name="connsiteY5" fmla="*/ 2635250 h 3028950"/>
                <a:gd name="connsiteX6" fmla="*/ 184150 w 819150"/>
                <a:gd name="connsiteY6" fmla="*/ 2844800 h 3028950"/>
                <a:gd name="connsiteX7" fmla="*/ 0 w 819150"/>
                <a:gd name="connsiteY7" fmla="*/ 3028950 h 302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9150" h="3028950">
                  <a:moveTo>
                    <a:pt x="819150" y="0"/>
                  </a:moveTo>
                  <a:lnTo>
                    <a:pt x="19050" y="806450"/>
                  </a:lnTo>
                  <a:lnTo>
                    <a:pt x="19050" y="1219200"/>
                  </a:lnTo>
                  <a:lnTo>
                    <a:pt x="723900" y="1924050"/>
                  </a:lnTo>
                  <a:lnTo>
                    <a:pt x="723900" y="2095500"/>
                  </a:lnTo>
                  <a:lnTo>
                    <a:pt x="184150" y="2635250"/>
                  </a:lnTo>
                  <a:lnTo>
                    <a:pt x="184150" y="2844800"/>
                  </a:lnTo>
                  <a:lnTo>
                    <a:pt x="0" y="30289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4" name="Freeform 413"/>
            <p:cNvSpPr/>
            <p:nvPr/>
          </p:nvSpPr>
          <p:spPr>
            <a:xfrm rot="8100000" flipV="1">
              <a:off x="3462867" y="-105732"/>
              <a:ext cx="768350" cy="1104900"/>
            </a:xfrm>
            <a:custGeom>
              <a:avLst/>
              <a:gdLst>
                <a:gd name="connsiteX0" fmla="*/ 768350 w 768350"/>
                <a:gd name="connsiteY0" fmla="*/ 0 h 1104900"/>
                <a:gd name="connsiteX1" fmla="*/ 0 w 768350"/>
                <a:gd name="connsiteY1" fmla="*/ 768350 h 1104900"/>
                <a:gd name="connsiteX2" fmla="*/ 0 w 768350"/>
                <a:gd name="connsiteY2" fmla="*/ 946150 h 1104900"/>
                <a:gd name="connsiteX3" fmla="*/ 69850 w 768350"/>
                <a:gd name="connsiteY3" fmla="*/ 1016000 h 1104900"/>
                <a:gd name="connsiteX4" fmla="*/ 69850 w 768350"/>
                <a:gd name="connsiteY4" fmla="*/ 110490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8350" h="1104900">
                  <a:moveTo>
                    <a:pt x="768350" y="0"/>
                  </a:moveTo>
                  <a:lnTo>
                    <a:pt x="0" y="768350"/>
                  </a:lnTo>
                  <a:lnTo>
                    <a:pt x="0" y="946150"/>
                  </a:lnTo>
                  <a:lnTo>
                    <a:pt x="69850" y="1016000"/>
                  </a:lnTo>
                  <a:lnTo>
                    <a:pt x="69850" y="1104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5" name="Freeform 414"/>
            <p:cNvSpPr/>
            <p:nvPr/>
          </p:nvSpPr>
          <p:spPr>
            <a:xfrm rot="8100000" flipV="1">
              <a:off x="2854925" y="-240953"/>
              <a:ext cx="1275656" cy="1716009"/>
            </a:xfrm>
            <a:custGeom>
              <a:avLst/>
              <a:gdLst>
                <a:gd name="connsiteX0" fmla="*/ 774700 w 774700"/>
                <a:gd name="connsiteY0" fmla="*/ 0 h 1308100"/>
                <a:gd name="connsiteX1" fmla="*/ 0 w 774700"/>
                <a:gd name="connsiteY1" fmla="*/ 774700 h 1308100"/>
                <a:gd name="connsiteX2" fmla="*/ 0 w 774700"/>
                <a:gd name="connsiteY2" fmla="*/ 939800 h 1308100"/>
                <a:gd name="connsiteX3" fmla="*/ 146050 w 774700"/>
                <a:gd name="connsiteY3" fmla="*/ 1085850 h 1308100"/>
                <a:gd name="connsiteX4" fmla="*/ 146050 w 774700"/>
                <a:gd name="connsiteY4" fmla="*/ 1162050 h 1308100"/>
                <a:gd name="connsiteX5" fmla="*/ 63500 w 774700"/>
                <a:gd name="connsiteY5" fmla="*/ 1244600 h 1308100"/>
                <a:gd name="connsiteX6" fmla="*/ 63500 w 774700"/>
                <a:gd name="connsiteY6" fmla="*/ 1308100 h 1308100"/>
                <a:gd name="connsiteX0" fmla="*/ 1545206 w 1545206"/>
                <a:gd name="connsiteY0" fmla="*/ 0 h 2078606"/>
                <a:gd name="connsiteX1" fmla="*/ 0 w 1545206"/>
                <a:gd name="connsiteY1" fmla="*/ 1545206 h 2078606"/>
                <a:gd name="connsiteX2" fmla="*/ 0 w 1545206"/>
                <a:gd name="connsiteY2" fmla="*/ 1710306 h 2078606"/>
                <a:gd name="connsiteX3" fmla="*/ 146050 w 1545206"/>
                <a:gd name="connsiteY3" fmla="*/ 1856356 h 2078606"/>
                <a:gd name="connsiteX4" fmla="*/ 146050 w 1545206"/>
                <a:gd name="connsiteY4" fmla="*/ 1932556 h 2078606"/>
                <a:gd name="connsiteX5" fmla="*/ 63500 w 1545206"/>
                <a:gd name="connsiteY5" fmla="*/ 2015106 h 2078606"/>
                <a:gd name="connsiteX6" fmla="*/ 63500 w 1545206"/>
                <a:gd name="connsiteY6" fmla="*/ 2078606 h 20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206" h="2078606">
                  <a:moveTo>
                    <a:pt x="1545206" y="0"/>
                  </a:moveTo>
                  <a:lnTo>
                    <a:pt x="0" y="1545206"/>
                  </a:lnTo>
                  <a:lnTo>
                    <a:pt x="0" y="1710306"/>
                  </a:lnTo>
                  <a:lnTo>
                    <a:pt x="146050" y="1856356"/>
                  </a:lnTo>
                  <a:lnTo>
                    <a:pt x="146050" y="1932556"/>
                  </a:lnTo>
                  <a:lnTo>
                    <a:pt x="63500" y="2015106"/>
                  </a:lnTo>
                  <a:lnTo>
                    <a:pt x="63500" y="2078606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6" name="Freeform 415"/>
            <p:cNvSpPr/>
            <p:nvPr/>
          </p:nvSpPr>
          <p:spPr>
            <a:xfrm rot="8100000" flipV="1">
              <a:off x="3418992" y="-290497"/>
              <a:ext cx="1309003" cy="3306948"/>
            </a:xfrm>
            <a:custGeom>
              <a:avLst/>
              <a:gdLst>
                <a:gd name="connsiteX0" fmla="*/ 736600 w 736600"/>
                <a:gd name="connsiteY0" fmla="*/ 0 h 2965450"/>
                <a:gd name="connsiteX1" fmla="*/ 63500 w 736600"/>
                <a:gd name="connsiteY1" fmla="*/ 673100 h 2965450"/>
                <a:gd name="connsiteX2" fmla="*/ 63500 w 736600"/>
                <a:gd name="connsiteY2" fmla="*/ 749300 h 2965450"/>
                <a:gd name="connsiteX3" fmla="*/ 146050 w 736600"/>
                <a:gd name="connsiteY3" fmla="*/ 831850 h 2965450"/>
                <a:gd name="connsiteX4" fmla="*/ 323850 w 736600"/>
                <a:gd name="connsiteY4" fmla="*/ 831850 h 2965450"/>
                <a:gd name="connsiteX5" fmla="*/ 438150 w 736600"/>
                <a:gd name="connsiteY5" fmla="*/ 946150 h 2965450"/>
                <a:gd name="connsiteX6" fmla="*/ 438150 w 736600"/>
                <a:gd name="connsiteY6" fmla="*/ 1066800 h 2965450"/>
                <a:gd name="connsiteX7" fmla="*/ 260350 w 736600"/>
                <a:gd name="connsiteY7" fmla="*/ 1244600 h 2965450"/>
                <a:gd name="connsiteX8" fmla="*/ 260350 w 736600"/>
                <a:gd name="connsiteY8" fmla="*/ 1346200 h 2965450"/>
                <a:gd name="connsiteX9" fmla="*/ 311150 w 736600"/>
                <a:gd name="connsiteY9" fmla="*/ 1397000 h 2965450"/>
                <a:gd name="connsiteX10" fmla="*/ 311150 w 736600"/>
                <a:gd name="connsiteY10" fmla="*/ 1479550 h 2965450"/>
                <a:gd name="connsiteX11" fmla="*/ 311150 w 736600"/>
                <a:gd name="connsiteY11" fmla="*/ 1638300 h 2965450"/>
                <a:gd name="connsiteX12" fmla="*/ 546100 w 736600"/>
                <a:gd name="connsiteY12" fmla="*/ 1873250 h 2965450"/>
                <a:gd name="connsiteX13" fmla="*/ 546100 w 736600"/>
                <a:gd name="connsiteY13" fmla="*/ 2146300 h 2965450"/>
                <a:gd name="connsiteX14" fmla="*/ 0 w 736600"/>
                <a:gd name="connsiteY14" fmla="*/ 2692400 h 2965450"/>
                <a:gd name="connsiteX15" fmla="*/ 0 w 736600"/>
                <a:gd name="connsiteY15" fmla="*/ 2965450 h 2965450"/>
                <a:gd name="connsiteX0" fmla="*/ 1453225 w 1453225"/>
                <a:gd name="connsiteY0" fmla="*/ 0 h 3671298"/>
                <a:gd name="connsiteX1" fmla="*/ 63500 w 1453225"/>
                <a:gd name="connsiteY1" fmla="*/ 1378948 h 3671298"/>
                <a:gd name="connsiteX2" fmla="*/ 63500 w 1453225"/>
                <a:gd name="connsiteY2" fmla="*/ 1455148 h 3671298"/>
                <a:gd name="connsiteX3" fmla="*/ 146050 w 1453225"/>
                <a:gd name="connsiteY3" fmla="*/ 1537698 h 3671298"/>
                <a:gd name="connsiteX4" fmla="*/ 323850 w 1453225"/>
                <a:gd name="connsiteY4" fmla="*/ 1537698 h 3671298"/>
                <a:gd name="connsiteX5" fmla="*/ 438150 w 1453225"/>
                <a:gd name="connsiteY5" fmla="*/ 1651998 h 3671298"/>
                <a:gd name="connsiteX6" fmla="*/ 438150 w 1453225"/>
                <a:gd name="connsiteY6" fmla="*/ 1772648 h 3671298"/>
                <a:gd name="connsiteX7" fmla="*/ 260350 w 1453225"/>
                <a:gd name="connsiteY7" fmla="*/ 1950448 h 3671298"/>
                <a:gd name="connsiteX8" fmla="*/ 260350 w 1453225"/>
                <a:gd name="connsiteY8" fmla="*/ 2052048 h 3671298"/>
                <a:gd name="connsiteX9" fmla="*/ 311150 w 1453225"/>
                <a:gd name="connsiteY9" fmla="*/ 2102848 h 3671298"/>
                <a:gd name="connsiteX10" fmla="*/ 311150 w 1453225"/>
                <a:gd name="connsiteY10" fmla="*/ 2185398 h 3671298"/>
                <a:gd name="connsiteX11" fmla="*/ 311150 w 1453225"/>
                <a:gd name="connsiteY11" fmla="*/ 2344148 h 3671298"/>
                <a:gd name="connsiteX12" fmla="*/ 546100 w 1453225"/>
                <a:gd name="connsiteY12" fmla="*/ 2579098 h 3671298"/>
                <a:gd name="connsiteX13" fmla="*/ 546100 w 1453225"/>
                <a:gd name="connsiteY13" fmla="*/ 2852148 h 3671298"/>
                <a:gd name="connsiteX14" fmla="*/ 0 w 1453225"/>
                <a:gd name="connsiteY14" fmla="*/ 3398248 h 3671298"/>
                <a:gd name="connsiteX15" fmla="*/ 0 w 1453225"/>
                <a:gd name="connsiteY15" fmla="*/ 3671298 h 3671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53225" h="3671298">
                  <a:moveTo>
                    <a:pt x="1453225" y="0"/>
                  </a:moveTo>
                  <a:lnTo>
                    <a:pt x="63500" y="1378948"/>
                  </a:lnTo>
                  <a:lnTo>
                    <a:pt x="63500" y="1455148"/>
                  </a:lnTo>
                  <a:lnTo>
                    <a:pt x="146050" y="1537698"/>
                  </a:lnTo>
                  <a:lnTo>
                    <a:pt x="323850" y="1537698"/>
                  </a:lnTo>
                  <a:lnTo>
                    <a:pt x="438150" y="1651998"/>
                  </a:lnTo>
                  <a:lnTo>
                    <a:pt x="438150" y="1772648"/>
                  </a:lnTo>
                  <a:lnTo>
                    <a:pt x="260350" y="1950448"/>
                  </a:lnTo>
                  <a:lnTo>
                    <a:pt x="260350" y="2052048"/>
                  </a:lnTo>
                  <a:lnTo>
                    <a:pt x="311150" y="2102848"/>
                  </a:lnTo>
                  <a:lnTo>
                    <a:pt x="311150" y="2185398"/>
                  </a:lnTo>
                  <a:lnTo>
                    <a:pt x="311150" y="2344148"/>
                  </a:lnTo>
                  <a:lnTo>
                    <a:pt x="546100" y="2579098"/>
                  </a:lnTo>
                  <a:lnTo>
                    <a:pt x="546100" y="2852148"/>
                  </a:lnTo>
                  <a:lnTo>
                    <a:pt x="0" y="3398248"/>
                  </a:lnTo>
                  <a:lnTo>
                    <a:pt x="0" y="367129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7" name="Freeform 416"/>
            <p:cNvSpPr/>
            <p:nvPr/>
          </p:nvSpPr>
          <p:spPr>
            <a:xfrm rot="8100000" flipV="1">
              <a:off x="5927008" y="2154747"/>
              <a:ext cx="1153178" cy="1348441"/>
            </a:xfrm>
            <a:custGeom>
              <a:avLst/>
              <a:gdLst>
                <a:gd name="connsiteX0" fmla="*/ 614363 w 614363"/>
                <a:gd name="connsiteY0" fmla="*/ 0 h 809625"/>
                <a:gd name="connsiteX1" fmla="*/ 0 w 614363"/>
                <a:gd name="connsiteY1" fmla="*/ 614363 h 809625"/>
                <a:gd name="connsiteX2" fmla="*/ 0 w 614363"/>
                <a:gd name="connsiteY2" fmla="*/ 809625 h 809625"/>
                <a:gd name="connsiteX0" fmla="*/ 1147790 w 1147790"/>
                <a:gd name="connsiteY0" fmla="*/ 0 h 1332276"/>
                <a:gd name="connsiteX1" fmla="*/ 0 w 1147790"/>
                <a:gd name="connsiteY1" fmla="*/ 1137014 h 1332276"/>
                <a:gd name="connsiteX2" fmla="*/ 0 w 1147790"/>
                <a:gd name="connsiteY2" fmla="*/ 1332276 h 1332276"/>
                <a:gd name="connsiteX0" fmla="*/ 1153178 w 1153178"/>
                <a:gd name="connsiteY0" fmla="*/ 0 h 1348441"/>
                <a:gd name="connsiteX1" fmla="*/ 0 w 1153178"/>
                <a:gd name="connsiteY1" fmla="*/ 1153179 h 1348441"/>
                <a:gd name="connsiteX2" fmla="*/ 0 w 1153178"/>
                <a:gd name="connsiteY2" fmla="*/ 1348441 h 134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3178" h="1348441">
                  <a:moveTo>
                    <a:pt x="1153178" y="0"/>
                  </a:moveTo>
                  <a:lnTo>
                    <a:pt x="0" y="1153179"/>
                  </a:lnTo>
                  <a:lnTo>
                    <a:pt x="0" y="134844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8" name="Freeform 417"/>
            <p:cNvSpPr/>
            <p:nvPr/>
          </p:nvSpPr>
          <p:spPr>
            <a:xfrm rot="8100000" flipV="1">
              <a:off x="2492697" y="869132"/>
              <a:ext cx="1559508" cy="1064460"/>
            </a:xfrm>
            <a:custGeom>
              <a:avLst/>
              <a:gdLst>
                <a:gd name="connsiteX0" fmla="*/ 1804987 w 1804987"/>
                <a:gd name="connsiteY0" fmla="*/ 0 h 1309688"/>
                <a:gd name="connsiteX1" fmla="*/ 495299 w 1804987"/>
                <a:gd name="connsiteY1" fmla="*/ 1309688 h 1309688"/>
                <a:gd name="connsiteX2" fmla="*/ 319087 w 1804987"/>
                <a:gd name="connsiteY2" fmla="*/ 1309688 h 1309688"/>
                <a:gd name="connsiteX3" fmla="*/ 266700 w 1804987"/>
                <a:gd name="connsiteY3" fmla="*/ 1257301 h 1309688"/>
                <a:gd name="connsiteX4" fmla="*/ 0 w 1804987"/>
                <a:gd name="connsiteY4" fmla="*/ 1257301 h 1309688"/>
                <a:gd name="connsiteX0" fmla="*/ 1804987 w 1804987"/>
                <a:gd name="connsiteY0" fmla="*/ 0 h 1309688"/>
                <a:gd name="connsiteX1" fmla="*/ 1559508 w 1804987"/>
                <a:gd name="connsiteY1" fmla="*/ 245228 h 1309688"/>
                <a:gd name="connsiteX2" fmla="*/ 495299 w 1804987"/>
                <a:gd name="connsiteY2" fmla="*/ 1309688 h 1309688"/>
                <a:gd name="connsiteX3" fmla="*/ 319087 w 1804987"/>
                <a:gd name="connsiteY3" fmla="*/ 1309688 h 1309688"/>
                <a:gd name="connsiteX4" fmla="*/ 266700 w 1804987"/>
                <a:gd name="connsiteY4" fmla="*/ 1257301 h 1309688"/>
                <a:gd name="connsiteX5" fmla="*/ 0 w 1804987"/>
                <a:gd name="connsiteY5" fmla="*/ 1257301 h 1309688"/>
                <a:gd name="connsiteX0" fmla="*/ 1559508 w 1559508"/>
                <a:gd name="connsiteY0" fmla="*/ 0 h 1064460"/>
                <a:gd name="connsiteX1" fmla="*/ 495299 w 1559508"/>
                <a:gd name="connsiteY1" fmla="*/ 1064460 h 1064460"/>
                <a:gd name="connsiteX2" fmla="*/ 319087 w 1559508"/>
                <a:gd name="connsiteY2" fmla="*/ 1064460 h 1064460"/>
                <a:gd name="connsiteX3" fmla="*/ 266700 w 1559508"/>
                <a:gd name="connsiteY3" fmla="*/ 1012073 h 1064460"/>
                <a:gd name="connsiteX4" fmla="*/ 0 w 1559508"/>
                <a:gd name="connsiteY4" fmla="*/ 1012073 h 106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9508" h="1064460">
                  <a:moveTo>
                    <a:pt x="1559508" y="0"/>
                  </a:moveTo>
                  <a:lnTo>
                    <a:pt x="495299" y="1064460"/>
                  </a:lnTo>
                  <a:lnTo>
                    <a:pt x="319087" y="1064460"/>
                  </a:lnTo>
                  <a:lnTo>
                    <a:pt x="266700" y="1012073"/>
                  </a:lnTo>
                  <a:lnTo>
                    <a:pt x="0" y="101207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9" name="Freeform 418"/>
            <p:cNvSpPr/>
            <p:nvPr/>
          </p:nvSpPr>
          <p:spPr>
            <a:xfrm rot="8100000" flipV="1">
              <a:off x="2635143" y="926798"/>
              <a:ext cx="1487591" cy="1397158"/>
            </a:xfrm>
            <a:custGeom>
              <a:avLst/>
              <a:gdLst>
                <a:gd name="connsiteX0" fmla="*/ 1809750 w 1809750"/>
                <a:gd name="connsiteY0" fmla="*/ 0 h 1714500"/>
                <a:gd name="connsiteX1" fmla="*/ 433388 w 1809750"/>
                <a:gd name="connsiteY1" fmla="*/ 1376362 h 1714500"/>
                <a:gd name="connsiteX2" fmla="*/ 247650 w 1809750"/>
                <a:gd name="connsiteY2" fmla="*/ 1376362 h 1714500"/>
                <a:gd name="connsiteX3" fmla="*/ 0 w 1809750"/>
                <a:gd name="connsiteY3" fmla="*/ 1624012 h 1714500"/>
                <a:gd name="connsiteX4" fmla="*/ 0 w 1809750"/>
                <a:gd name="connsiteY4" fmla="*/ 1714500 h 1714500"/>
                <a:gd name="connsiteX0" fmla="*/ 1809750 w 1809750"/>
                <a:gd name="connsiteY0" fmla="*/ 0 h 1714500"/>
                <a:gd name="connsiteX1" fmla="*/ 1487591 w 1809750"/>
                <a:gd name="connsiteY1" fmla="*/ 317342 h 1714500"/>
                <a:gd name="connsiteX2" fmla="*/ 433388 w 1809750"/>
                <a:gd name="connsiteY2" fmla="*/ 1376362 h 1714500"/>
                <a:gd name="connsiteX3" fmla="*/ 247650 w 1809750"/>
                <a:gd name="connsiteY3" fmla="*/ 1376362 h 1714500"/>
                <a:gd name="connsiteX4" fmla="*/ 0 w 1809750"/>
                <a:gd name="connsiteY4" fmla="*/ 1624012 h 1714500"/>
                <a:gd name="connsiteX5" fmla="*/ 0 w 1809750"/>
                <a:gd name="connsiteY5" fmla="*/ 1714500 h 1714500"/>
                <a:gd name="connsiteX0" fmla="*/ 1487591 w 1487591"/>
                <a:gd name="connsiteY0" fmla="*/ 0 h 1397158"/>
                <a:gd name="connsiteX1" fmla="*/ 433388 w 1487591"/>
                <a:gd name="connsiteY1" fmla="*/ 1059020 h 1397158"/>
                <a:gd name="connsiteX2" fmla="*/ 247650 w 1487591"/>
                <a:gd name="connsiteY2" fmla="*/ 1059020 h 1397158"/>
                <a:gd name="connsiteX3" fmla="*/ 0 w 1487591"/>
                <a:gd name="connsiteY3" fmla="*/ 1306670 h 1397158"/>
                <a:gd name="connsiteX4" fmla="*/ 0 w 1487591"/>
                <a:gd name="connsiteY4" fmla="*/ 1397158 h 1397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7591" h="1397158">
                  <a:moveTo>
                    <a:pt x="1487591" y="0"/>
                  </a:moveTo>
                  <a:lnTo>
                    <a:pt x="433388" y="1059020"/>
                  </a:lnTo>
                  <a:lnTo>
                    <a:pt x="247650" y="1059020"/>
                  </a:lnTo>
                  <a:lnTo>
                    <a:pt x="0" y="1306670"/>
                  </a:lnTo>
                  <a:lnTo>
                    <a:pt x="0" y="139715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0" name="Freeform 419"/>
            <p:cNvSpPr/>
            <p:nvPr/>
          </p:nvSpPr>
          <p:spPr>
            <a:xfrm rot="8100000" flipV="1">
              <a:off x="2711752" y="1116369"/>
              <a:ext cx="1473164" cy="1405808"/>
            </a:xfrm>
            <a:custGeom>
              <a:avLst/>
              <a:gdLst>
                <a:gd name="connsiteX0" fmla="*/ 1966913 w 1966913"/>
                <a:gd name="connsiteY0" fmla="*/ 0 h 1900238"/>
                <a:gd name="connsiteX1" fmla="*/ 66675 w 1966913"/>
                <a:gd name="connsiteY1" fmla="*/ 1900238 h 1900238"/>
                <a:gd name="connsiteX2" fmla="*/ 0 w 1966913"/>
                <a:gd name="connsiteY2" fmla="*/ 1900238 h 1900238"/>
                <a:gd name="connsiteX0" fmla="*/ 1966913 w 1966913"/>
                <a:gd name="connsiteY0" fmla="*/ 0 h 1900238"/>
                <a:gd name="connsiteX1" fmla="*/ 1473164 w 1966913"/>
                <a:gd name="connsiteY1" fmla="*/ 494430 h 1900238"/>
                <a:gd name="connsiteX2" fmla="*/ 66675 w 1966913"/>
                <a:gd name="connsiteY2" fmla="*/ 1900238 h 1900238"/>
                <a:gd name="connsiteX3" fmla="*/ 0 w 1966913"/>
                <a:gd name="connsiteY3" fmla="*/ 1900238 h 1900238"/>
                <a:gd name="connsiteX0" fmla="*/ 1473164 w 1473164"/>
                <a:gd name="connsiteY0" fmla="*/ 0 h 1405808"/>
                <a:gd name="connsiteX1" fmla="*/ 66675 w 1473164"/>
                <a:gd name="connsiteY1" fmla="*/ 1405808 h 1405808"/>
                <a:gd name="connsiteX2" fmla="*/ 0 w 1473164"/>
                <a:gd name="connsiteY2" fmla="*/ 1405808 h 1405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3164" h="1405808">
                  <a:moveTo>
                    <a:pt x="1473164" y="0"/>
                  </a:moveTo>
                  <a:lnTo>
                    <a:pt x="66675" y="1405808"/>
                  </a:lnTo>
                  <a:lnTo>
                    <a:pt x="0" y="140580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1" name="Freeform 420"/>
            <p:cNvSpPr/>
            <p:nvPr/>
          </p:nvSpPr>
          <p:spPr>
            <a:xfrm rot="8100000" flipV="1">
              <a:off x="3014853" y="562824"/>
              <a:ext cx="2644417" cy="2748252"/>
            </a:xfrm>
            <a:custGeom>
              <a:avLst/>
              <a:gdLst>
                <a:gd name="connsiteX0" fmla="*/ 2867025 w 2867025"/>
                <a:gd name="connsiteY0" fmla="*/ 0 h 3200400"/>
                <a:gd name="connsiteX1" fmla="*/ 909637 w 2867025"/>
                <a:gd name="connsiteY1" fmla="*/ 1957388 h 3200400"/>
                <a:gd name="connsiteX2" fmla="*/ 909637 w 2867025"/>
                <a:gd name="connsiteY2" fmla="*/ 2047875 h 3200400"/>
                <a:gd name="connsiteX3" fmla="*/ 271462 w 2867025"/>
                <a:gd name="connsiteY3" fmla="*/ 2686050 h 3200400"/>
                <a:gd name="connsiteX4" fmla="*/ 271462 w 2867025"/>
                <a:gd name="connsiteY4" fmla="*/ 2995613 h 3200400"/>
                <a:gd name="connsiteX5" fmla="*/ 66675 w 2867025"/>
                <a:gd name="connsiteY5" fmla="*/ 3200400 h 3200400"/>
                <a:gd name="connsiteX6" fmla="*/ 0 w 2867025"/>
                <a:gd name="connsiteY6" fmla="*/ 3200400 h 3200400"/>
                <a:gd name="connsiteX0" fmla="*/ 3163373 w 3163373"/>
                <a:gd name="connsiteY0" fmla="*/ 0 h 3200400"/>
                <a:gd name="connsiteX1" fmla="*/ 1205985 w 3163373"/>
                <a:gd name="connsiteY1" fmla="*/ 1957388 h 3200400"/>
                <a:gd name="connsiteX2" fmla="*/ 1205985 w 3163373"/>
                <a:gd name="connsiteY2" fmla="*/ 2047875 h 3200400"/>
                <a:gd name="connsiteX3" fmla="*/ 567810 w 3163373"/>
                <a:gd name="connsiteY3" fmla="*/ 2686050 h 3200400"/>
                <a:gd name="connsiteX4" fmla="*/ 567810 w 3163373"/>
                <a:gd name="connsiteY4" fmla="*/ 2995613 h 3200400"/>
                <a:gd name="connsiteX5" fmla="*/ 363023 w 3163373"/>
                <a:gd name="connsiteY5" fmla="*/ 3200400 h 3200400"/>
                <a:gd name="connsiteX6" fmla="*/ 0 w 3163373"/>
                <a:gd name="connsiteY6" fmla="*/ 3159988 h 3200400"/>
                <a:gd name="connsiteX0" fmla="*/ 3163373 w 3163373"/>
                <a:gd name="connsiteY0" fmla="*/ 0 h 3200400"/>
                <a:gd name="connsiteX1" fmla="*/ 1205985 w 3163373"/>
                <a:gd name="connsiteY1" fmla="*/ 1957388 h 3200400"/>
                <a:gd name="connsiteX2" fmla="*/ 1205985 w 3163373"/>
                <a:gd name="connsiteY2" fmla="*/ 2047875 h 3200400"/>
                <a:gd name="connsiteX3" fmla="*/ 567810 w 3163373"/>
                <a:gd name="connsiteY3" fmla="*/ 2686050 h 3200400"/>
                <a:gd name="connsiteX4" fmla="*/ 567810 w 3163373"/>
                <a:gd name="connsiteY4" fmla="*/ 2995613 h 3200400"/>
                <a:gd name="connsiteX5" fmla="*/ 363023 w 3163373"/>
                <a:gd name="connsiteY5" fmla="*/ 3200400 h 3200400"/>
                <a:gd name="connsiteX6" fmla="*/ 161376 w 3163373"/>
                <a:gd name="connsiteY6" fmla="*/ 3168674 h 3200400"/>
                <a:gd name="connsiteX7" fmla="*/ 0 w 3163373"/>
                <a:gd name="connsiteY7" fmla="*/ 3159988 h 3200400"/>
                <a:gd name="connsiteX0" fmla="*/ 3126329 w 3126329"/>
                <a:gd name="connsiteY0" fmla="*/ 0 h 3230707"/>
                <a:gd name="connsiteX1" fmla="*/ 1168941 w 3126329"/>
                <a:gd name="connsiteY1" fmla="*/ 1957388 h 3230707"/>
                <a:gd name="connsiteX2" fmla="*/ 1168941 w 3126329"/>
                <a:gd name="connsiteY2" fmla="*/ 2047875 h 3230707"/>
                <a:gd name="connsiteX3" fmla="*/ 530766 w 3126329"/>
                <a:gd name="connsiteY3" fmla="*/ 2686050 h 3230707"/>
                <a:gd name="connsiteX4" fmla="*/ 530766 w 3126329"/>
                <a:gd name="connsiteY4" fmla="*/ 2995613 h 3230707"/>
                <a:gd name="connsiteX5" fmla="*/ 325979 w 3126329"/>
                <a:gd name="connsiteY5" fmla="*/ 3200400 h 3230707"/>
                <a:gd name="connsiteX6" fmla="*/ 124332 w 3126329"/>
                <a:gd name="connsiteY6" fmla="*/ 3168674 h 3230707"/>
                <a:gd name="connsiteX7" fmla="*/ 0 w 3126329"/>
                <a:gd name="connsiteY7" fmla="*/ 3230707 h 3230707"/>
                <a:gd name="connsiteX0" fmla="*/ 3126329 w 3126329"/>
                <a:gd name="connsiteY0" fmla="*/ 0 h 3230707"/>
                <a:gd name="connsiteX1" fmla="*/ 1168941 w 3126329"/>
                <a:gd name="connsiteY1" fmla="*/ 1957388 h 3230707"/>
                <a:gd name="connsiteX2" fmla="*/ 1168941 w 3126329"/>
                <a:gd name="connsiteY2" fmla="*/ 2047875 h 3230707"/>
                <a:gd name="connsiteX3" fmla="*/ 530766 w 3126329"/>
                <a:gd name="connsiteY3" fmla="*/ 2686050 h 3230707"/>
                <a:gd name="connsiteX4" fmla="*/ 530766 w 3126329"/>
                <a:gd name="connsiteY4" fmla="*/ 2995613 h 3230707"/>
                <a:gd name="connsiteX5" fmla="*/ 325979 w 3126329"/>
                <a:gd name="connsiteY5" fmla="*/ 3200400 h 3230707"/>
                <a:gd name="connsiteX6" fmla="*/ 77186 w 3126329"/>
                <a:gd name="connsiteY6" fmla="*/ 3161939 h 3230707"/>
                <a:gd name="connsiteX7" fmla="*/ 0 w 3126329"/>
                <a:gd name="connsiteY7" fmla="*/ 3230707 h 3230707"/>
                <a:gd name="connsiteX0" fmla="*/ 3126329 w 3126329"/>
                <a:gd name="connsiteY0" fmla="*/ 0 h 3230707"/>
                <a:gd name="connsiteX1" fmla="*/ 2644417 w 3126329"/>
                <a:gd name="connsiteY1" fmla="*/ 482455 h 3230707"/>
                <a:gd name="connsiteX2" fmla="*/ 1168941 w 3126329"/>
                <a:gd name="connsiteY2" fmla="*/ 1957388 h 3230707"/>
                <a:gd name="connsiteX3" fmla="*/ 1168941 w 3126329"/>
                <a:gd name="connsiteY3" fmla="*/ 2047875 h 3230707"/>
                <a:gd name="connsiteX4" fmla="*/ 530766 w 3126329"/>
                <a:gd name="connsiteY4" fmla="*/ 2686050 h 3230707"/>
                <a:gd name="connsiteX5" fmla="*/ 530766 w 3126329"/>
                <a:gd name="connsiteY5" fmla="*/ 2995613 h 3230707"/>
                <a:gd name="connsiteX6" fmla="*/ 325979 w 3126329"/>
                <a:gd name="connsiteY6" fmla="*/ 3200400 h 3230707"/>
                <a:gd name="connsiteX7" fmla="*/ 77186 w 3126329"/>
                <a:gd name="connsiteY7" fmla="*/ 3161939 h 3230707"/>
                <a:gd name="connsiteX8" fmla="*/ 0 w 3126329"/>
                <a:gd name="connsiteY8" fmla="*/ 3230707 h 3230707"/>
                <a:gd name="connsiteX0" fmla="*/ 2644417 w 2644417"/>
                <a:gd name="connsiteY0" fmla="*/ 0 h 2748252"/>
                <a:gd name="connsiteX1" fmla="*/ 1168941 w 2644417"/>
                <a:gd name="connsiteY1" fmla="*/ 1474933 h 2748252"/>
                <a:gd name="connsiteX2" fmla="*/ 1168941 w 2644417"/>
                <a:gd name="connsiteY2" fmla="*/ 1565420 h 2748252"/>
                <a:gd name="connsiteX3" fmla="*/ 530766 w 2644417"/>
                <a:gd name="connsiteY3" fmla="*/ 2203595 h 2748252"/>
                <a:gd name="connsiteX4" fmla="*/ 530766 w 2644417"/>
                <a:gd name="connsiteY4" fmla="*/ 2513158 h 2748252"/>
                <a:gd name="connsiteX5" fmla="*/ 325979 w 2644417"/>
                <a:gd name="connsiteY5" fmla="*/ 2717945 h 2748252"/>
                <a:gd name="connsiteX6" fmla="*/ 77186 w 2644417"/>
                <a:gd name="connsiteY6" fmla="*/ 2679484 h 2748252"/>
                <a:gd name="connsiteX7" fmla="*/ 0 w 2644417"/>
                <a:gd name="connsiteY7" fmla="*/ 2748252 h 274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4417" h="2748252">
                  <a:moveTo>
                    <a:pt x="2644417" y="0"/>
                  </a:moveTo>
                  <a:lnTo>
                    <a:pt x="1168941" y="1474933"/>
                  </a:lnTo>
                  <a:lnTo>
                    <a:pt x="1168941" y="1565420"/>
                  </a:lnTo>
                  <a:lnTo>
                    <a:pt x="530766" y="2203595"/>
                  </a:lnTo>
                  <a:lnTo>
                    <a:pt x="530766" y="2513158"/>
                  </a:lnTo>
                  <a:lnTo>
                    <a:pt x="325979" y="2717945"/>
                  </a:lnTo>
                  <a:lnTo>
                    <a:pt x="77186" y="2679484"/>
                  </a:lnTo>
                  <a:lnTo>
                    <a:pt x="0" y="274825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2" name="Freeform 421"/>
            <p:cNvSpPr/>
            <p:nvPr/>
          </p:nvSpPr>
          <p:spPr>
            <a:xfrm rot="8100000" flipV="1">
              <a:off x="3056365" y="614600"/>
              <a:ext cx="2564892" cy="2827340"/>
            </a:xfrm>
            <a:custGeom>
              <a:avLst/>
              <a:gdLst>
                <a:gd name="connsiteX0" fmla="*/ 2919413 w 2919413"/>
                <a:gd name="connsiteY0" fmla="*/ 0 h 3228975"/>
                <a:gd name="connsiteX1" fmla="*/ 1057275 w 2919413"/>
                <a:gd name="connsiteY1" fmla="*/ 1862138 h 3228975"/>
                <a:gd name="connsiteX2" fmla="*/ 1057275 w 2919413"/>
                <a:gd name="connsiteY2" fmla="*/ 1976438 h 3228975"/>
                <a:gd name="connsiteX3" fmla="*/ 466725 w 2919413"/>
                <a:gd name="connsiteY3" fmla="*/ 2566988 h 3228975"/>
                <a:gd name="connsiteX4" fmla="*/ 466725 w 2919413"/>
                <a:gd name="connsiteY4" fmla="*/ 2867025 h 3228975"/>
                <a:gd name="connsiteX5" fmla="*/ 104775 w 2919413"/>
                <a:gd name="connsiteY5" fmla="*/ 3228975 h 3228975"/>
                <a:gd name="connsiteX6" fmla="*/ 0 w 2919413"/>
                <a:gd name="connsiteY6" fmla="*/ 3228975 h 3228975"/>
                <a:gd name="connsiteX0" fmla="*/ 3070954 w 3070954"/>
                <a:gd name="connsiteY0" fmla="*/ 0 h 3228975"/>
                <a:gd name="connsiteX1" fmla="*/ 1208816 w 3070954"/>
                <a:gd name="connsiteY1" fmla="*/ 1862138 h 3228975"/>
                <a:gd name="connsiteX2" fmla="*/ 1208816 w 3070954"/>
                <a:gd name="connsiteY2" fmla="*/ 1976438 h 3228975"/>
                <a:gd name="connsiteX3" fmla="*/ 618266 w 3070954"/>
                <a:gd name="connsiteY3" fmla="*/ 2566988 h 3228975"/>
                <a:gd name="connsiteX4" fmla="*/ 618266 w 3070954"/>
                <a:gd name="connsiteY4" fmla="*/ 2867025 h 3228975"/>
                <a:gd name="connsiteX5" fmla="*/ 256316 w 3070954"/>
                <a:gd name="connsiteY5" fmla="*/ 3228975 h 3228975"/>
                <a:gd name="connsiteX6" fmla="*/ 0 w 3070954"/>
                <a:gd name="connsiteY6" fmla="*/ 3218872 h 3228975"/>
                <a:gd name="connsiteX0" fmla="*/ 3070954 w 3070954"/>
                <a:gd name="connsiteY0" fmla="*/ 0 h 3228975"/>
                <a:gd name="connsiteX1" fmla="*/ 1208816 w 3070954"/>
                <a:gd name="connsiteY1" fmla="*/ 1862138 h 3228975"/>
                <a:gd name="connsiteX2" fmla="*/ 1208816 w 3070954"/>
                <a:gd name="connsiteY2" fmla="*/ 1976438 h 3228975"/>
                <a:gd name="connsiteX3" fmla="*/ 618266 w 3070954"/>
                <a:gd name="connsiteY3" fmla="*/ 2566988 h 3228975"/>
                <a:gd name="connsiteX4" fmla="*/ 618266 w 3070954"/>
                <a:gd name="connsiteY4" fmla="*/ 2867025 h 3228975"/>
                <a:gd name="connsiteX5" fmla="*/ 256316 w 3070954"/>
                <a:gd name="connsiteY5" fmla="*/ 3228975 h 3228975"/>
                <a:gd name="connsiteX6" fmla="*/ 115526 w 3070954"/>
                <a:gd name="connsiteY6" fmla="*/ 3219863 h 3228975"/>
                <a:gd name="connsiteX7" fmla="*/ 0 w 3070954"/>
                <a:gd name="connsiteY7" fmla="*/ 3218872 h 3228975"/>
                <a:gd name="connsiteX0" fmla="*/ 3017073 w 3017073"/>
                <a:gd name="connsiteY0" fmla="*/ 0 h 3272753"/>
                <a:gd name="connsiteX1" fmla="*/ 1154935 w 3017073"/>
                <a:gd name="connsiteY1" fmla="*/ 1862138 h 3272753"/>
                <a:gd name="connsiteX2" fmla="*/ 1154935 w 3017073"/>
                <a:gd name="connsiteY2" fmla="*/ 1976438 h 3272753"/>
                <a:gd name="connsiteX3" fmla="*/ 564385 w 3017073"/>
                <a:gd name="connsiteY3" fmla="*/ 2566988 h 3272753"/>
                <a:gd name="connsiteX4" fmla="*/ 564385 w 3017073"/>
                <a:gd name="connsiteY4" fmla="*/ 2867025 h 3272753"/>
                <a:gd name="connsiteX5" fmla="*/ 202435 w 3017073"/>
                <a:gd name="connsiteY5" fmla="*/ 3228975 h 3272753"/>
                <a:gd name="connsiteX6" fmla="*/ 61645 w 3017073"/>
                <a:gd name="connsiteY6" fmla="*/ 3219863 h 3272753"/>
                <a:gd name="connsiteX7" fmla="*/ 0 w 3017073"/>
                <a:gd name="connsiteY7" fmla="*/ 3272753 h 3272753"/>
                <a:gd name="connsiteX0" fmla="*/ 3003603 w 3003603"/>
                <a:gd name="connsiteY0" fmla="*/ 0 h 3272753"/>
                <a:gd name="connsiteX1" fmla="*/ 1141465 w 3003603"/>
                <a:gd name="connsiteY1" fmla="*/ 1862138 h 3272753"/>
                <a:gd name="connsiteX2" fmla="*/ 1141465 w 3003603"/>
                <a:gd name="connsiteY2" fmla="*/ 1976438 h 3272753"/>
                <a:gd name="connsiteX3" fmla="*/ 550915 w 3003603"/>
                <a:gd name="connsiteY3" fmla="*/ 2566988 h 3272753"/>
                <a:gd name="connsiteX4" fmla="*/ 550915 w 3003603"/>
                <a:gd name="connsiteY4" fmla="*/ 2867025 h 3272753"/>
                <a:gd name="connsiteX5" fmla="*/ 188965 w 3003603"/>
                <a:gd name="connsiteY5" fmla="*/ 3228975 h 3272753"/>
                <a:gd name="connsiteX6" fmla="*/ 48175 w 3003603"/>
                <a:gd name="connsiteY6" fmla="*/ 3219863 h 3272753"/>
                <a:gd name="connsiteX7" fmla="*/ 0 w 3003603"/>
                <a:gd name="connsiteY7" fmla="*/ 3272753 h 3272753"/>
                <a:gd name="connsiteX0" fmla="*/ 3013706 w 3013706"/>
                <a:gd name="connsiteY0" fmla="*/ 0 h 3269385"/>
                <a:gd name="connsiteX1" fmla="*/ 1151568 w 3013706"/>
                <a:gd name="connsiteY1" fmla="*/ 1862138 h 3269385"/>
                <a:gd name="connsiteX2" fmla="*/ 1151568 w 3013706"/>
                <a:gd name="connsiteY2" fmla="*/ 1976438 h 3269385"/>
                <a:gd name="connsiteX3" fmla="*/ 561018 w 3013706"/>
                <a:gd name="connsiteY3" fmla="*/ 2566988 h 3269385"/>
                <a:gd name="connsiteX4" fmla="*/ 561018 w 3013706"/>
                <a:gd name="connsiteY4" fmla="*/ 2867025 h 3269385"/>
                <a:gd name="connsiteX5" fmla="*/ 199068 w 3013706"/>
                <a:gd name="connsiteY5" fmla="*/ 3228975 h 3269385"/>
                <a:gd name="connsiteX6" fmla="*/ 58278 w 3013706"/>
                <a:gd name="connsiteY6" fmla="*/ 3219863 h 3269385"/>
                <a:gd name="connsiteX7" fmla="*/ 0 w 3013706"/>
                <a:gd name="connsiteY7" fmla="*/ 3269385 h 3269385"/>
                <a:gd name="connsiteX0" fmla="*/ 3013706 w 3013706"/>
                <a:gd name="connsiteY0" fmla="*/ 0 h 3269385"/>
                <a:gd name="connsiteX1" fmla="*/ 2564892 w 3013706"/>
                <a:gd name="connsiteY1" fmla="*/ 442045 h 3269385"/>
                <a:gd name="connsiteX2" fmla="*/ 1151568 w 3013706"/>
                <a:gd name="connsiteY2" fmla="*/ 1862138 h 3269385"/>
                <a:gd name="connsiteX3" fmla="*/ 1151568 w 3013706"/>
                <a:gd name="connsiteY3" fmla="*/ 1976438 h 3269385"/>
                <a:gd name="connsiteX4" fmla="*/ 561018 w 3013706"/>
                <a:gd name="connsiteY4" fmla="*/ 2566988 h 3269385"/>
                <a:gd name="connsiteX5" fmla="*/ 561018 w 3013706"/>
                <a:gd name="connsiteY5" fmla="*/ 2867025 h 3269385"/>
                <a:gd name="connsiteX6" fmla="*/ 199068 w 3013706"/>
                <a:gd name="connsiteY6" fmla="*/ 3228975 h 3269385"/>
                <a:gd name="connsiteX7" fmla="*/ 58278 w 3013706"/>
                <a:gd name="connsiteY7" fmla="*/ 3219863 h 3269385"/>
                <a:gd name="connsiteX8" fmla="*/ 0 w 3013706"/>
                <a:gd name="connsiteY8" fmla="*/ 3269385 h 3269385"/>
                <a:gd name="connsiteX0" fmla="*/ 2564892 w 2564892"/>
                <a:gd name="connsiteY0" fmla="*/ 0 h 2827340"/>
                <a:gd name="connsiteX1" fmla="*/ 1151568 w 2564892"/>
                <a:gd name="connsiteY1" fmla="*/ 1420093 h 2827340"/>
                <a:gd name="connsiteX2" fmla="*/ 1151568 w 2564892"/>
                <a:gd name="connsiteY2" fmla="*/ 1534393 h 2827340"/>
                <a:gd name="connsiteX3" fmla="*/ 561018 w 2564892"/>
                <a:gd name="connsiteY3" fmla="*/ 2124943 h 2827340"/>
                <a:gd name="connsiteX4" fmla="*/ 561018 w 2564892"/>
                <a:gd name="connsiteY4" fmla="*/ 2424980 h 2827340"/>
                <a:gd name="connsiteX5" fmla="*/ 199068 w 2564892"/>
                <a:gd name="connsiteY5" fmla="*/ 2786930 h 2827340"/>
                <a:gd name="connsiteX6" fmla="*/ 58278 w 2564892"/>
                <a:gd name="connsiteY6" fmla="*/ 2777818 h 2827340"/>
                <a:gd name="connsiteX7" fmla="*/ 0 w 2564892"/>
                <a:gd name="connsiteY7" fmla="*/ 2827340 h 282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892" h="2827340">
                  <a:moveTo>
                    <a:pt x="2564892" y="0"/>
                  </a:moveTo>
                  <a:lnTo>
                    <a:pt x="1151568" y="1420093"/>
                  </a:lnTo>
                  <a:lnTo>
                    <a:pt x="1151568" y="1534393"/>
                  </a:lnTo>
                  <a:lnTo>
                    <a:pt x="561018" y="2124943"/>
                  </a:lnTo>
                  <a:lnTo>
                    <a:pt x="561018" y="2424980"/>
                  </a:lnTo>
                  <a:lnTo>
                    <a:pt x="199068" y="2786930"/>
                  </a:lnTo>
                  <a:lnTo>
                    <a:pt x="58278" y="2777818"/>
                  </a:lnTo>
                  <a:lnTo>
                    <a:pt x="0" y="28273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3" name="Freeform 422"/>
            <p:cNvSpPr/>
            <p:nvPr/>
          </p:nvSpPr>
          <p:spPr>
            <a:xfrm rot="8100000" flipV="1">
              <a:off x="3084664" y="682781"/>
              <a:ext cx="2487198" cy="2894060"/>
            </a:xfrm>
            <a:custGeom>
              <a:avLst/>
              <a:gdLst>
                <a:gd name="connsiteX0" fmla="*/ 2895601 w 2895601"/>
                <a:gd name="connsiteY0" fmla="*/ 0 h 3305175"/>
                <a:gd name="connsiteX1" fmla="*/ 1081088 w 2895601"/>
                <a:gd name="connsiteY1" fmla="*/ 1814513 h 3305175"/>
                <a:gd name="connsiteX2" fmla="*/ 1081088 w 2895601"/>
                <a:gd name="connsiteY2" fmla="*/ 1947862 h 3305175"/>
                <a:gd name="connsiteX3" fmla="*/ 495300 w 2895601"/>
                <a:gd name="connsiteY3" fmla="*/ 2533650 h 3305175"/>
                <a:gd name="connsiteX4" fmla="*/ 495300 w 2895601"/>
                <a:gd name="connsiteY4" fmla="*/ 2809875 h 3305175"/>
                <a:gd name="connsiteX5" fmla="*/ 0 w 2895601"/>
                <a:gd name="connsiteY5" fmla="*/ 3305175 h 3305175"/>
                <a:gd name="connsiteX0" fmla="*/ 2895601 w 2895601"/>
                <a:gd name="connsiteY0" fmla="*/ 0 h 3305175"/>
                <a:gd name="connsiteX1" fmla="*/ 2487198 w 2895601"/>
                <a:gd name="connsiteY1" fmla="*/ 411115 h 3305175"/>
                <a:gd name="connsiteX2" fmla="*/ 1081088 w 2895601"/>
                <a:gd name="connsiteY2" fmla="*/ 1814513 h 3305175"/>
                <a:gd name="connsiteX3" fmla="*/ 1081088 w 2895601"/>
                <a:gd name="connsiteY3" fmla="*/ 1947862 h 3305175"/>
                <a:gd name="connsiteX4" fmla="*/ 495300 w 2895601"/>
                <a:gd name="connsiteY4" fmla="*/ 2533650 h 3305175"/>
                <a:gd name="connsiteX5" fmla="*/ 495300 w 2895601"/>
                <a:gd name="connsiteY5" fmla="*/ 2809875 h 3305175"/>
                <a:gd name="connsiteX6" fmla="*/ 0 w 2895601"/>
                <a:gd name="connsiteY6" fmla="*/ 3305175 h 3305175"/>
                <a:gd name="connsiteX0" fmla="*/ 2487198 w 2487198"/>
                <a:gd name="connsiteY0" fmla="*/ 0 h 2894060"/>
                <a:gd name="connsiteX1" fmla="*/ 1081088 w 2487198"/>
                <a:gd name="connsiteY1" fmla="*/ 1403398 h 2894060"/>
                <a:gd name="connsiteX2" fmla="*/ 1081088 w 2487198"/>
                <a:gd name="connsiteY2" fmla="*/ 1536747 h 2894060"/>
                <a:gd name="connsiteX3" fmla="*/ 495300 w 2487198"/>
                <a:gd name="connsiteY3" fmla="*/ 2122535 h 2894060"/>
                <a:gd name="connsiteX4" fmla="*/ 495300 w 2487198"/>
                <a:gd name="connsiteY4" fmla="*/ 2398760 h 2894060"/>
                <a:gd name="connsiteX5" fmla="*/ 0 w 2487198"/>
                <a:gd name="connsiteY5" fmla="*/ 2894060 h 289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87198" h="2894060">
                  <a:moveTo>
                    <a:pt x="2487198" y="0"/>
                  </a:moveTo>
                  <a:lnTo>
                    <a:pt x="1081088" y="1403398"/>
                  </a:lnTo>
                  <a:lnTo>
                    <a:pt x="1081088" y="1536747"/>
                  </a:lnTo>
                  <a:lnTo>
                    <a:pt x="495300" y="2122535"/>
                  </a:lnTo>
                  <a:lnTo>
                    <a:pt x="495300" y="2398760"/>
                  </a:lnTo>
                  <a:lnTo>
                    <a:pt x="0" y="289406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4" name="Freeform 423"/>
            <p:cNvSpPr/>
            <p:nvPr/>
          </p:nvSpPr>
          <p:spPr>
            <a:xfrm rot="8100000" flipV="1">
              <a:off x="2973432" y="1043470"/>
              <a:ext cx="1835312" cy="2248812"/>
            </a:xfrm>
            <a:custGeom>
              <a:avLst/>
              <a:gdLst>
                <a:gd name="connsiteX0" fmla="*/ 2238375 w 2238375"/>
                <a:gd name="connsiteY0" fmla="*/ 0 h 2647950"/>
                <a:gd name="connsiteX1" fmla="*/ 457200 w 2238375"/>
                <a:gd name="connsiteY1" fmla="*/ 1781175 h 2647950"/>
                <a:gd name="connsiteX2" fmla="*/ 457200 w 2238375"/>
                <a:gd name="connsiteY2" fmla="*/ 1928813 h 2647950"/>
                <a:gd name="connsiteX3" fmla="*/ 390525 w 2238375"/>
                <a:gd name="connsiteY3" fmla="*/ 1995488 h 2647950"/>
                <a:gd name="connsiteX4" fmla="*/ 390525 w 2238375"/>
                <a:gd name="connsiteY4" fmla="*/ 2219325 h 2647950"/>
                <a:gd name="connsiteX5" fmla="*/ 271463 w 2238375"/>
                <a:gd name="connsiteY5" fmla="*/ 2338387 h 2647950"/>
                <a:gd name="connsiteX6" fmla="*/ 190500 w 2238375"/>
                <a:gd name="connsiteY6" fmla="*/ 2338387 h 2647950"/>
                <a:gd name="connsiteX7" fmla="*/ 0 w 2238375"/>
                <a:gd name="connsiteY7" fmla="*/ 2528887 h 2647950"/>
                <a:gd name="connsiteX8" fmla="*/ 0 w 2238375"/>
                <a:gd name="connsiteY8" fmla="*/ 2647950 h 2647950"/>
                <a:gd name="connsiteX0" fmla="*/ 2238375 w 2238375"/>
                <a:gd name="connsiteY0" fmla="*/ 0 h 2647950"/>
                <a:gd name="connsiteX1" fmla="*/ 1835312 w 2238375"/>
                <a:gd name="connsiteY1" fmla="*/ 399138 h 2647950"/>
                <a:gd name="connsiteX2" fmla="*/ 457200 w 2238375"/>
                <a:gd name="connsiteY2" fmla="*/ 1781175 h 2647950"/>
                <a:gd name="connsiteX3" fmla="*/ 457200 w 2238375"/>
                <a:gd name="connsiteY3" fmla="*/ 1928813 h 2647950"/>
                <a:gd name="connsiteX4" fmla="*/ 390525 w 2238375"/>
                <a:gd name="connsiteY4" fmla="*/ 1995488 h 2647950"/>
                <a:gd name="connsiteX5" fmla="*/ 390525 w 2238375"/>
                <a:gd name="connsiteY5" fmla="*/ 2219325 h 2647950"/>
                <a:gd name="connsiteX6" fmla="*/ 271463 w 2238375"/>
                <a:gd name="connsiteY6" fmla="*/ 2338387 h 2647950"/>
                <a:gd name="connsiteX7" fmla="*/ 190500 w 2238375"/>
                <a:gd name="connsiteY7" fmla="*/ 2338387 h 2647950"/>
                <a:gd name="connsiteX8" fmla="*/ 0 w 2238375"/>
                <a:gd name="connsiteY8" fmla="*/ 2528887 h 2647950"/>
                <a:gd name="connsiteX9" fmla="*/ 0 w 2238375"/>
                <a:gd name="connsiteY9" fmla="*/ 2647950 h 2647950"/>
                <a:gd name="connsiteX0" fmla="*/ 1835312 w 1835312"/>
                <a:gd name="connsiteY0" fmla="*/ 0 h 2248812"/>
                <a:gd name="connsiteX1" fmla="*/ 457200 w 1835312"/>
                <a:gd name="connsiteY1" fmla="*/ 1382037 h 2248812"/>
                <a:gd name="connsiteX2" fmla="*/ 457200 w 1835312"/>
                <a:gd name="connsiteY2" fmla="*/ 1529675 h 2248812"/>
                <a:gd name="connsiteX3" fmla="*/ 390525 w 1835312"/>
                <a:gd name="connsiteY3" fmla="*/ 1596350 h 2248812"/>
                <a:gd name="connsiteX4" fmla="*/ 390525 w 1835312"/>
                <a:gd name="connsiteY4" fmla="*/ 1820187 h 2248812"/>
                <a:gd name="connsiteX5" fmla="*/ 271463 w 1835312"/>
                <a:gd name="connsiteY5" fmla="*/ 1939249 h 2248812"/>
                <a:gd name="connsiteX6" fmla="*/ 190500 w 1835312"/>
                <a:gd name="connsiteY6" fmla="*/ 1939249 h 2248812"/>
                <a:gd name="connsiteX7" fmla="*/ 0 w 1835312"/>
                <a:gd name="connsiteY7" fmla="*/ 2129749 h 2248812"/>
                <a:gd name="connsiteX8" fmla="*/ 0 w 1835312"/>
                <a:gd name="connsiteY8" fmla="*/ 2248812 h 2248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312" h="2248812">
                  <a:moveTo>
                    <a:pt x="1835312" y="0"/>
                  </a:moveTo>
                  <a:lnTo>
                    <a:pt x="457200" y="1382037"/>
                  </a:lnTo>
                  <a:lnTo>
                    <a:pt x="457200" y="1529675"/>
                  </a:lnTo>
                  <a:lnTo>
                    <a:pt x="390525" y="1596350"/>
                  </a:lnTo>
                  <a:lnTo>
                    <a:pt x="390525" y="1820187"/>
                  </a:lnTo>
                  <a:lnTo>
                    <a:pt x="271463" y="1939249"/>
                  </a:lnTo>
                  <a:lnTo>
                    <a:pt x="190500" y="1939249"/>
                  </a:lnTo>
                  <a:lnTo>
                    <a:pt x="0" y="2129749"/>
                  </a:lnTo>
                  <a:lnTo>
                    <a:pt x="0" y="224881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5" name="Freeform 424"/>
            <p:cNvSpPr/>
            <p:nvPr/>
          </p:nvSpPr>
          <p:spPr>
            <a:xfrm rot="8100000" flipV="1">
              <a:off x="2921699" y="1173298"/>
              <a:ext cx="1670935" cy="2068075"/>
            </a:xfrm>
            <a:custGeom>
              <a:avLst/>
              <a:gdLst>
                <a:gd name="connsiteX0" fmla="*/ 2028825 w 2028825"/>
                <a:gd name="connsiteY0" fmla="*/ 0 h 2424112"/>
                <a:gd name="connsiteX1" fmla="*/ 314325 w 2028825"/>
                <a:gd name="connsiteY1" fmla="*/ 1714500 h 2424112"/>
                <a:gd name="connsiteX2" fmla="*/ 314325 w 2028825"/>
                <a:gd name="connsiteY2" fmla="*/ 1876425 h 2424112"/>
                <a:gd name="connsiteX3" fmla="*/ 233362 w 2028825"/>
                <a:gd name="connsiteY3" fmla="*/ 1957388 h 2424112"/>
                <a:gd name="connsiteX4" fmla="*/ 233362 w 2028825"/>
                <a:gd name="connsiteY4" fmla="*/ 2190750 h 2424112"/>
                <a:gd name="connsiteX5" fmla="*/ 0 w 2028825"/>
                <a:gd name="connsiteY5" fmla="*/ 2424112 h 2424112"/>
                <a:gd name="connsiteX0" fmla="*/ 2028825 w 2028825"/>
                <a:gd name="connsiteY0" fmla="*/ 0 h 2424112"/>
                <a:gd name="connsiteX1" fmla="*/ 1670935 w 2028825"/>
                <a:gd name="connsiteY1" fmla="*/ 356037 h 2424112"/>
                <a:gd name="connsiteX2" fmla="*/ 314325 w 2028825"/>
                <a:gd name="connsiteY2" fmla="*/ 1714500 h 2424112"/>
                <a:gd name="connsiteX3" fmla="*/ 314325 w 2028825"/>
                <a:gd name="connsiteY3" fmla="*/ 1876425 h 2424112"/>
                <a:gd name="connsiteX4" fmla="*/ 233362 w 2028825"/>
                <a:gd name="connsiteY4" fmla="*/ 1957388 h 2424112"/>
                <a:gd name="connsiteX5" fmla="*/ 233362 w 2028825"/>
                <a:gd name="connsiteY5" fmla="*/ 2190750 h 2424112"/>
                <a:gd name="connsiteX6" fmla="*/ 0 w 2028825"/>
                <a:gd name="connsiteY6" fmla="*/ 2424112 h 2424112"/>
                <a:gd name="connsiteX0" fmla="*/ 1670935 w 1670935"/>
                <a:gd name="connsiteY0" fmla="*/ 0 h 2068075"/>
                <a:gd name="connsiteX1" fmla="*/ 314325 w 1670935"/>
                <a:gd name="connsiteY1" fmla="*/ 1358463 h 2068075"/>
                <a:gd name="connsiteX2" fmla="*/ 314325 w 1670935"/>
                <a:gd name="connsiteY2" fmla="*/ 1520388 h 2068075"/>
                <a:gd name="connsiteX3" fmla="*/ 233362 w 1670935"/>
                <a:gd name="connsiteY3" fmla="*/ 1601351 h 2068075"/>
                <a:gd name="connsiteX4" fmla="*/ 233362 w 1670935"/>
                <a:gd name="connsiteY4" fmla="*/ 1834713 h 2068075"/>
                <a:gd name="connsiteX5" fmla="*/ 0 w 1670935"/>
                <a:gd name="connsiteY5" fmla="*/ 2068075 h 206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0935" h="2068075">
                  <a:moveTo>
                    <a:pt x="1670935" y="0"/>
                  </a:moveTo>
                  <a:lnTo>
                    <a:pt x="314325" y="1358463"/>
                  </a:lnTo>
                  <a:lnTo>
                    <a:pt x="314325" y="1520388"/>
                  </a:lnTo>
                  <a:lnTo>
                    <a:pt x="233362" y="1601351"/>
                  </a:lnTo>
                  <a:lnTo>
                    <a:pt x="233362" y="1834713"/>
                  </a:lnTo>
                  <a:lnTo>
                    <a:pt x="0" y="206807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6" name="Freeform 425"/>
            <p:cNvSpPr/>
            <p:nvPr/>
          </p:nvSpPr>
          <p:spPr>
            <a:xfrm>
              <a:off x="10479088" y="1322389"/>
              <a:ext cx="1709738" cy="1785937"/>
            </a:xfrm>
            <a:custGeom>
              <a:avLst/>
              <a:gdLst>
                <a:gd name="connsiteX0" fmla="*/ 1709738 w 1709738"/>
                <a:gd name="connsiteY0" fmla="*/ 0 h 1785937"/>
                <a:gd name="connsiteX1" fmla="*/ 452438 w 1709738"/>
                <a:gd name="connsiteY1" fmla="*/ 1257300 h 1785937"/>
                <a:gd name="connsiteX2" fmla="*/ 452438 w 1709738"/>
                <a:gd name="connsiteY2" fmla="*/ 1452562 h 1785937"/>
                <a:gd name="connsiteX3" fmla="*/ 119063 w 1709738"/>
                <a:gd name="connsiteY3" fmla="*/ 1785937 h 1785937"/>
                <a:gd name="connsiteX4" fmla="*/ 0 w 1709738"/>
                <a:gd name="connsiteY4" fmla="*/ 1785937 h 1785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9738" h="1785937">
                  <a:moveTo>
                    <a:pt x="1709738" y="0"/>
                  </a:moveTo>
                  <a:lnTo>
                    <a:pt x="452438" y="1257300"/>
                  </a:lnTo>
                  <a:lnTo>
                    <a:pt x="452438" y="1452562"/>
                  </a:lnTo>
                  <a:lnTo>
                    <a:pt x="119063" y="1785937"/>
                  </a:lnTo>
                  <a:lnTo>
                    <a:pt x="0" y="17859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7" name="Freeform 426"/>
            <p:cNvSpPr/>
            <p:nvPr/>
          </p:nvSpPr>
          <p:spPr>
            <a:xfrm>
              <a:off x="9274176" y="1422401"/>
              <a:ext cx="2919412" cy="2524125"/>
            </a:xfrm>
            <a:custGeom>
              <a:avLst/>
              <a:gdLst>
                <a:gd name="connsiteX0" fmla="*/ 2919412 w 2919412"/>
                <a:gd name="connsiteY0" fmla="*/ 0 h 2524125"/>
                <a:gd name="connsiteX1" fmla="*/ 1695449 w 2919412"/>
                <a:gd name="connsiteY1" fmla="*/ 1223963 h 2524125"/>
                <a:gd name="connsiteX2" fmla="*/ 1695449 w 2919412"/>
                <a:gd name="connsiteY2" fmla="*/ 1371600 h 2524125"/>
                <a:gd name="connsiteX3" fmla="*/ 1285874 w 2919412"/>
                <a:gd name="connsiteY3" fmla="*/ 1781175 h 2524125"/>
                <a:gd name="connsiteX4" fmla="*/ 1176337 w 2919412"/>
                <a:gd name="connsiteY4" fmla="*/ 1781175 h 2524125"/>
                <a:gd name="connsiteX5" fmla="*/ 1028700 w 2919412"/>
                <a:gd name="connsiteY5" fmla="*/ 1633538 h 2524125"/>
                <a:gd name="connsiteX6" fmla="*/ 976312 w 2919412"/>
                <a:gd name="connsiteY6" fmla="*/ 1633538 h 2524125"/>
                <a:gd name="connsiteX7" fmla="*/ 885825 w 2919412"/>
                <a:gd name="connsiteY7" fmla="*/ 1724025 h 2524125"/>
                <a:gd name="connsiteX8" fmla="*/ 885825 w 2919412"/>
                <a:gd name="connsiteY8" fmla="*/ 1833563 h 2524125"/>
                <a:gd name="connsiteX9" fmla="*/ 514350 w 2919412"/>
                <a:gd name="connsiteY9" fmla="*/ 2205038 h 2524125"/>
                <a:gd name="connsiteX10" fmla="*/ 376237 w 2919412"/>
                <a:gd name="connsiteY10" fmla="*/ 2205038 h 2524125"/>
                <a:gd name="connsiteX11" fmla="*/ 314325 w 2919412"/>
                <a:gd name="connsiteY11" fmla="*/ 2266950 h 2524125"/>
                <a:gd name="connsiteX12" fmla="*/ 109537 w 2919412"/>
                <a:gd name="connsiteY12" fmla="*/ 2266950 h 2524125"/>
                <a:gd name="connsiteX13" fmla="*/ 0 w 2919412"/>
                <a:gd name="connsiteY13" fmla="*/ 2376487 h 2524125"/>
                <a:gd name="connsiteX14" fmla="*/ 0 w 2919412"/>
                <a:gd name="connsiteY14" fmla="*/ 2524125 h 2524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19412" h="2524125">
                  <a:moveTo>
                    <a:pt x="2919412" y="0"/>
                  </a:moveTo>
                  <a:lnTo>
                    <a:pt x="1695449" y="1223963"/>
                  </a:lnTo>
                  <a:lnTo>
                    <a:pt x="1695449" y="1371600"/>
                  </a:lnTo>
                  <a:lnTo>
                    <a:pt x="1285874" y="1781175"/>
                  </a:lnTo>
                  <a:lnTo>
                    <a:pt x="1176337" y="1781175"/>
                  </a:lnTo>
                  <a:lnTo>
                    <a:pt x="1028700" y="1633538"/>
                  </a:lnTo>
                  <a:lnTo>
                    <a:pt x="976312" y="1633538"/>
                  </a:lnTo>
                  <a:lnTo>
                    <a:pt x="885825" y="1724025"/>
                  </a:lnTo>
                  <a:lnTo>
                    <a:pt x="885825" y="1833563"/>
                  </a:lnTo>
                  <a:lnTo>
                    <a:pt x="514350" y="2205038"/>
                  </a:lnTo>
                  <a:lnTo>
                    <a:pt x="376237" y="2205038"/>
                  </a:lnTo>
                  <a:lnTo>
                    <a:pt x="314325" y="2266950"/>
                  </a:lnTo>
                  <a:lnTo>
                    <a:pt x="109537" y="2266950"/>
                  </a:lnTo>
                  <a:lnTo>
                    <a:pt x="0" y="2376487"/>
                  </a:lnTo>
                  <a:lnTo>
                    <a:pt x="0" y="25241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8" name="Freeform 427"/>
            <p:cNvSpPr/>
            <p:nvPr/>
          </p:nvSpPr>
          <p:spPr>
            <a:xfrm>
              <a:off x="10379076" y="1484314"/>
              <a:ext cx="1814512" cy="1766887"/>
            </a:xfrm>
            <a:custGeom>
              <a:avLst/>
              <a:gdLst>
                <a:gd name="connsiteX0" fmla="*/ 1814512 w 1814512"/>
                <a:gd name="connsiteY0" fmla="*/ 0 h 1766887"/>
                <a:gd name="connsiteX1" fmla="*/ 623887 w 1814512"/>
                <a:gd name="connsiteY1" fmla="*/ 1190625 h 1766887"/>
                <a:gd name="connsiteX2" fmla="*/ 623887 w 1814512"/>
                <a:gd name="connsiteY2" fmla="*/ 1323975 h 1766887"/>
                <a:gd name="connsiteX3" fmla="*/ 180975 w 1814512"/>
                <a:gd name="connsiteY3" fmla="*/ 1766887 h 1766887"/>
                <a:gd name="connsiteX4" fmla="*/ 0 w 1814512"/>
                <a:gd name="connsiteY4" fmla="*/ 1766887 h 176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4512" h="1766887">
                  <a:moveTo>
                    <a:pt x="1814512" y="0"/>
                  </a:moveTo>
                  <a:lnTo>
                    <a:pt x="623887" y="1190625"/>
                  </a:lnTo>
                  <a:lnTo>
                    <a:pt x="623887" y="1323975"/>
                  </a:lnTo>
                  <a:lnTo>
                    <a:pt x="180975" y="1766887"/>
                  </a:lnTo>
                  <a:lnTo>
                    <a:pt x="0" y="176688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9" name="Freeform 428"/>
            <p:cNvSpPr/>
            <p:nvPr/>
          </p:nvSpPr>
          <p:spPr>
            <a:xfrm>
              <a:off x="10264777" y="1784351"/>
              <a:ext cx="1919287" cy="1681163"/>
            </a:xfrm>
            <a:custGeom>
              <a:avLst/>
              <a:gdLst>
                <a:gd name="connsiteX0" fmla="*/ 1919287 w 1919287"/>
                <a:gd name="connsiteY0" fmla="*/ 0 h 1681163"/>
                <a:gd name="connsiteX1" fmla="*/ 723900 w 1919287"/>
                <a:gd name="connsiteY1" fmla="*/ 1195387 h 1681163"/>
                <a:gd name="connsiteX2" fmla="*/ 600075 w 1919287"/>
                <a:gd name="connsiteY2" fmla="*/ 1195387 h 1681163"/>
                <a:gd name="connsiteX3" fmla="*/ 414337 w 1919287"/>
                <a:gd name="connsiteY3" fmla="*/ 1381125 h 1681163"/>
                <a:gd name="connsiteX4" fmla="*/ 414337 w 1919287"/>
                <a:gd name="connsiteY4" fmla="*/ 1581150 h 1681163"/>
                <a:gd name="connsiteX5" fmla="*/ 314324 w 1919287"/>
                <a:gd name="connsiteY5" fmla="*/ 1681163 h 1681163"/>
                <a:gd name="connsiteX6" fmla="*/ 138112 w 1919287"/>
                <a:gd name="connsiteY6" fmla="*/ 1681163 h 1681163"/>
                <a:gd name="connsiteX7" fmla="*/ 0 w 1919287"/>
                <a:gd name="connsiteY7" fmla="*/ 1543051 h 1681163"/>
                <a:gd name="connsiteX8" fmla="*/ 0 w 1919287"/>
                <a:gd name="connsiteY8" fmla="*/ 1390650 h 168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9287" h="1681163">
                  <a:moveTo>
                    <a:pt x="1919287" y="0"/>
                  </a:moveTo>
                  <a:lnTo>
                    <a:pt x="723900" y="1195387"/>
                  </a:lnTo>
                  <a:lnTo>
                    <a:pt x="600075" y="1195387"/>
                  </a:lnTo>
                  <a:lnTo>
                    <a:pt x="414337" y="1381125"/>
                  </a:lnTo>
                  <a:lnTo>
                    <a:pt x="414337" y="1581150"/>
                  </a:lnTo>
                  <a:lnTo>
                    <a:pt x="314324" y="1681163"/>
                  </a:lnTo>
                  <a:lnTo>
                    <a:pt x="138112" y="1681163"/>
                  </a:lnTo>
                  <a:lnTo>
                    <a:pt x="0" y="1543051"/>
                  </a:lnTo>
                  <a:lnTo>
                    <a:pt x="0" y="13906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0" name="Freeform 429"/>
            <p:cNvSpPr/>
            <p:nvPr/>
          </p:nvSpPr>
          <p:spPr>
            <a:xfrm>
              <a:off x="10102851" y="2165350"/>
              <a:ext cx="2076450" cy="1352550"/>
            </a:xfrm>
            <a:custGeom>
              <a:avLst/>
              <a:gdLst>
                <a:gd name="connsiteX0" fmla="*/ 2076450 w 2076450"/>
                <a:gd name="connsiteY0" fmla="*/ 0 h 1352550"/>
                <a:gd name="connsiteX1" fmla="*/ 1138237 w 2076450"/>
                <a:gd name="connsiteY1" fmla="*/ 938213 h 1352550"/>
                <a:gd name="connsiteX2" fmla="*/ 900112 w 2076450"/>
                <a:gd name="connsiteY2" fmla="*/ 938213 h 1352550"/>
                <a:gd name="connsiteX3" fmla="*/ 485775 w 2076450"/>
                <a:gd name="connsiteY3" fmla="*/ 1352550 h 1352550"/>
                <a:gd name="connsiteX4" fmla="*/ 52387 w 2076450"/>
                <a:gd name="connsiteY4" fmla="*/ 1352550 h 1352550"/>
                <a:gd name="connsiteX5" fmla="*/ 0 w 2076450"/>
                <a:gd name="connsiteY5" fmla="*/ 1300163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450" h="1352550">
                  <a:moveTo>
                    <a:pt x="2076450" y="0"/>
                  </a:moveTo>
                  <a:lnTo>
                    <a:pt x="1138237" y="938213"/>
                  </a:lnTo>
                  <a:lnTo>
                    <a:pt x="900112" y="938213"/>
                  </a:lnTo>
                  <a:lnTo>
                    <a:pt x="485775" y="1352550"/>
                  </a:lnTo>
                  <a:lnTo>
                    <a:pt x="52387" y="1352550"/>
                  </a:lnTo>
                  <a:lnTo>
                    <a:pt x="0" y="13001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1" name="Freeform 430"/>
            <p:cNvSpPr/>
            <p:nvPr/>
          </p:nvSpPr>
          <p:spPr>
            <a:xfrm>
              <a:off x="9994901" y="2251077"/>
              <a:ext cx="2195513" cy="1381125"/>
            </a:xfrm>
            <a:custGeom>
              <a:avLst/>
              <a:gdLst>
                <a:gd name="connsiteX0" fmla="*/ 2195513 w 2195513"/>
                <a:gd name="connsiteY0" fmla="*/ 0 h 1381125"/>
                <a:gd name="connsiteX1" fmla="*/ 1290638 w 2195513"/>
                <a:gd name="connsiteY1" fmla="*/ 904875 h 1381125"/>
                <a:gd name="connsiteX2" fmla="*/ 1047750 w 2195513"/>
                <a:gd name="connsiteY2" fmla="*/ 904875 h 1381125"/>
                <a:gd name="connsiteX3" fmla="*/ 633413 w 2195513"/>
                <a:gd name="connsiteY3" fmla="*/ 1319212 h 1381125"/>
                <a:gd name="connsiteX4" fmla="*/ 61913 w 2195513"/>
                <a:gd name="connsiteY4" fmla="*/ 1319212 h 1381125"/>
                <a:gd name="connsiteX5" fmla="*/ 0 w 2195513"/>
                <a:gd name="connsiteY5" fmla="*/ 1381125 h 138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5513" h="1381125">
                  <a:moveTo>
                    <a:pt x="2195513" y="0"/>
                  </a:moveTo>
                  <a:lnTo>
                    <a:pt x="1290638" y="904875"/>
                  </a:lnTo>
                  <a:lnTo>
                    <a:pt x="1047750" y="904875"/>
                  </a:lnTo>
                  <a:lnTo>
                    <a:pt x="633413" y="1319212"/>
                  </a:lnTo>
                  <a:lnTo>
                    <a:pt x="61913" y="1319212"/>
                  </a:lnTo>
                  <a:lnTo>
                    <a:pt x="0" y="13811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2" name="Freeform 431"/>
            <p:cNvSpPr/>
            <p:nvPr/>
          </p:nvSpPr>
          <p:spPr>
            <a:xfrm>
              <a:off x="9436102" y="2389189"/>
              <a:ext cx="2757487" cy="1595437"/>
            </a:xfrm>
            <a:custGeom>
              <a:avLst/>
              <a:gdLst>
                <a:gd name="connsiteX0" fmla="*/ 2757487 w 2757487"/>
                <a:gd name="connsiteY0" fmla="*/ 0 h 1595437"/>
                <a:gd name="connsiteX1" fmla="*/ 2400300 w 2757487"/>
                <a:gd name="connsiteY1" fmla="*/ 357187 h 1595437"/>
                <a:gd name="connsiteX2" fmla="*/ 2400300 w 2757487"/>
                <a:gd name="connsiteY2" fmla="*/ 576262 h 1595437"/>
                <a:gd name="connsiteX3" fmla="*/ 2128837 w 2757487"/>
                <a:gd name="connsiteY3" fmla="*/ 847725 h 1595437"/>
                <a:gd name="connsiteX4" fmla="*/ 1614487 w 2757487"/>
                <a:gd name="connsiteY4" fmla="*/ 847725 h 1595437"/>
                <a:gd name="connsiteX5" fmla="*/ 976312 w 2757487"/>
                <a:gd name="connsiteY5" fmla="*/ 1485900 h 1595437"/>
                <a:gd name="connsiteX6" fmla="*/ 781050 w 2757487"/>
                <a:gd name="connsiteY6" fmla="*/ 1485900 h 1595437"/>
                <a:gd name="connsiteX7" fmla="*/ 723900 w 2757487"/>
                <a:gd name="connsiteY7" fmla="*/ 1428750 h 1595437"/>
                <a:gd name="connsiteX8" fmla="*/ 481012 w 2757487"/>
                <a:gd name="connsiteY8" fmla="*/ 1428750 h 1595437"/>
                <a:gd name="connsiteX9" fmla="*/ 419100 w 2757487"/>
                <a:gd name="connsiteY9" fmla="*/ 1366838 h 1595437"/>
                <a:gd name="connsiteX10" fmla="*/ 300037 w 2757487"/>
                <a:gd name="connsiteY10" fmla="*/ 1366838 h 1595437"/>
                <a:gd name="connsiteX11" fmla="*/ 161925 w 2757487"/>
                <a:gd name="connsiteY11" fmla="*/ 1504950 h 1595437"/>
                <a:gd name="connsiteX12" fmla="*/ 90487 w 2757487"/>
                <a:gd name="connsiteY12" fmla="*/ 1504950 h 1595437"/>
                <a:gd name="connsiteX13" fmla="*/ 0 w 2757487"/>
                <a:gd name="connsiteY13" fmla="*/ 1595437 h 159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7487" h="1595437">
                  <a:moveTo>
                    <a:pt x="2757487" y="0"/>
                  </a:moveTo>
                  <a:lnTo>
                    <a:pt x="2400300" y="357187"/>
                  </a:lnTo>
                  <a:lnTo>
                    <a:pt x="2400300" y="576262"/>
                  </a:lnTo>
                  <a:lnTo>
                    <a:pt x="2128837" y="847725"/>
                  </a:lnTo>
                  <a:lnTo>
                    <a:pt x="1614487" y="847725"/>
                  </a:lnTo>
                  <a:lnTo>
                    <a:pt x="976312" y="1485900"/>
                  </a:lnTo>
                  <a:lnTo>
                    <a:pt x="781050" y="1485900"/>
                  </a:lnTo>
                  <a:lnTo>
                    <a:pt x="723900" y="1428750"/>
                  </a:lnTo>
                  <a:lnTo>
                    <a:pt x="481012" y="1428750"/>
                  </a:lnTo>
                  <a:lnTo>
                    <a:pt x="419100" y="1366838"/>
                  </a:lnTo>
                  <a:lnTo>
                    <a:pt x="300037" y="1366838"/>
                  </a:lnTo>
                  <a:lnTo>
                    <a:pt x="161925" y="1504950"/>
                  </a:lnTo>
                  <a:lnTo>
                    <a:pt x="90487" y="1504950"/>
                  </a:lnTo>
                  <a:lnTo>
                    <a:pt x="0" y="15954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3" name="Freeform 432"/>
            <p:cNvSpPr/>
            <p:nvPr/>
          </p:nvSpPr>
          <p:spPr>
            <a:xfrm>
              <a:off x="9659939" y="2470151"/>
              <a:ext cx="2524125" cy="1681163"/>
            </a:xfrm>
            <a:custGeom>
              <a:avLst/>
              <a:gdLst>
                <a:gd name="connsiteX0" fmla="*/ 2524125 w 2524125"/>
                <a:gd name="connsiteY0" fmla="*/ 0 h 1681163"/>
                <a:gd name="connsiteX1" fmla="*/ 2243138 w 2524125"/>
                <a:gd name="connsiteY1" fmla="*/ 280987 h 1681163"/>
                <a:gd name="connsiteX2" fmla="*/ 2243138 w 2524125"/>
                <a:gd name="connsiteY2" fmla="*/ 509588 h 1681163"/>
                <a:gd name="connsiteX3" fmla="*/ 1947863 w 2524125"/>
                <a:gd name="connsiteY3" fmla="*/ 804863 h 1681163"/>
                <a:gd name="connsiteX4" fmla="*/ 1447800 w 2524125"/>
                <a:gd name="connsiteY4" fmla="*/ 804863 h 1681163"/>
                <a:gd name="connsiteX5" fmla="*/ 790575 w 2524125"/>
                <a:gd name="connsiteY5" fmla="*/ 1462088 h 1681163"/>
                <a:gd name="connsiteX6" fmla="*/ 528638 w 2524125"/>
                <a:gd name="connsiteY6" fmla="*/ 1462088 h 1681163"/>
                <a:gd name="connsiteX7" fmla="*/ 471488 w 2524125"/>
                <a:gd name="connsiteY7" fmla="*/ 1404938 h 1681163"/>
                <a:gd name="connsiteX8" fmla="*/ 266700 w 2524125"/>
                <a:gd name="connsiteY8" fmla="*/ 1404938 h 1681163"/>
                <a:gd name="connsiteX9" fmla="*/ 190500 w 2524125"/>
                <a:gd name="connsiteY9" fmla="*/ 1328738 h 1681163"/>
                <a:gd name="connsiteX10" fmla="*/ 104775 w 2524125"/>
                <a:gd name="connsiteY10" fmla="*/ 1328738 h 1681163"/>
                <a:gd name="connsiteX11" fmla="*/ 0 w 2524125"/>
                <a:gd name="connsiteY11" fmla="*/ 1433513 h 1681163"/>
                <a:gd name="connsiteX12" fmla="*/ 0 w 2524125"/>
                <a:gd name="connsiteY12" fmla="*/ 1681163 h 168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24125" h="1681163">
                  <a:moveTo>
                    <a:pt x="2524125" y="0"/>
                  </a:moveTo>
                  <a:lnTo>
                    <a:pt x="2243138" y="280987"/>
                  </a:lnTo>
                  <a:lnTo>
                    <a:pt x="2243138" y="509588"/>
                  </a:lnTo>
                  <a:lnTo>
                    <a:pt x="1947863" y="804863"/>
                  </a:lnTo>
                  <a:lnTo>
                    <a:pt x="1447800" y="804863"/>
                  </a:lnTo>
                  <a:lnTo>
                    <a:pt x="790575" y="1462088"/>
                  </a:lnTo>
                  <a:lnTo>
                    <a:pt x="528638" y="1462088"/>
                  </a:lnTo>
                  <a:lnTo>
                    <a:pt x="471488" y="1404938"/>
                  </a:lnTo>
                  <a:lnTo>
                    <a:pt x="266700" y="1404938"/>
                  </a:lnTo>
                  <a:lnTo>
                    <a:pt x="190500" y="1328738"/>
                  </a:lnTo>
                  <a:lnTo>
                    <a:pt x="104775" y="1328738"/>
                  </a:lnTo>
                  <a:lnTo>
                    <a:pt x="0" y="1433513"/>
                  </a:lnTo>
                  <a:lnTo>
                    <a:pt x="0" y="16811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4" name="Freeform 433"/>
            <p:cNvSpPr/>
            <p:nvPr/>
          </p:nvSpPr>
          <p:spPr>
            <a:xfrm>
              <a:off x="9793289" y="2789238"/>
              <a:ext cx="2390775" cy="1438274"/>
            </a:xfrm>
            <a:custGeom>
              <a:avLst/>
              <a:gdLst>
                <a:gd name="connsiteX0" fmla="*/ 2390775 w 2390775"/>
                <a:gd name="connsiteY0" fmla="*/ 0 h 1438274"/>
                <a:gd name="connsiteX1" fmla="*/ 1828800 w 2390775"/>
                <a:gd name="connsiteY1" fmla="*/ 561975 h 1438274"/>
                <a:gd name="connsiteX2" fmla="*/ 1338263 w 2390775"/>
                <a:gd name="connsiteY2" fmla="*/ 561975 h 1438274"/>
                <a:gd name="connsiteX3" fmla="*/ 809625 w 2390775"/>
                <a:gd name="connsiteY3" fmla="*/ 1090613 h 1438274"/>
                <a:gd name="connsiteX4" fmla="*/ 809625 w 2390775"/>
                <a:gd name="connsiteY4" fmla="*/ 1252537 h 1438274"/>
                <a:gd name="connsiteX5" fmla="*/ 623888 w 2390775"/>
                <a:gd name="connsiteY5" fmla="*/ 1438274 h 1438274"/>
                <a:gd name="connsiteX6" fmla="*/ 538163 w 2390775"/>
                <a:gd name="connsiteY6" fmla="*/ 1438274 h 1438274"/>
                <a:gd name="connsiteX7" fmla="*/ 333376 w 2390775"/>
                <a:gd name="connsiteY7" fmla="*/ 1233487 h 1438274"/>
                <a:gd name="connsiteX8" fmla="*/ 66675 w 2390775"/>
                <a:gd name="connsiteY8" fmla="*/ 1233487 h 1438274"/>
                <a:gd name="connsiteX9" fmla="*/ 0 w 2390775"/>
                <a:gd name="connsiteY9" fmla="*/ 1300162 h 143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0775" h="1438274">
                  <a:moveTo>
                    <a:pt x="2390775" y="0"/>
                  </a:moveTo>
                  <a:lnTo>
                    <a:pt x="1828800" y="561975"/>
                  </a:lnTo>
                  <a:lnTo>
                    <a:pt x="1338263" y="561975"/>
                  </a:lnTo>
                  <a:lnTo>
                    <a:pt x="809625" y="1090613"/>
                  </a:lnTo>
                  <a:lnTo>
                    <a:pt x="809625" y="1252537"/>
                  </a:lnTo>
                  <a:lnTo>
                    <a:pt x="623888" y="1438274"/>
                  </a:lnTo>
                  <a:lnTo>
                    <a:pt x="538163" y="1438274"/>
                  </a:lnTo>
                  <a:lnTo>
                    <a:pt x="333376" y="1233487"/>
                  </a:lnTo>
                  <a:lnTo>
                    <a:pt x="66675" y="1233487"/>
                  </a:lnTo>
                  <a:lnTo>
                    <a:pt x="0" y="130016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5" name="Freeform 434"/>
            <p:cNvSpPr/>
            <p:nvPr/>
          </p:nvSpPr>
          <p:spPr>
            <a:xfrm>
              <a:off x="10998201" y="2870201"/>
              <a:ext cx="1185862" cy="695325"/>
            </a:xfrm>
            <a:custGeom>
              <a:avLst/>
              <a:gdLst>
                <a:gd name="connsiteX0" fmla="*/ 1185862 w 1185862"/>
                <a:gd name="connsiteY0" fmla="*/ 0 h 695325"/>
                <a:gd name="connsiteX1" fmla="*/ 647699 w 1185862"/>
                <a:gd name="connsiteY1" fmla="*/ 538163 h 695325"/>
                <a:gd name="connsiteX2" fmla="*/ 157162 w 1185862"/>
                <a:gd name="connsiteY2" fmla="*/ 538163 h 695325"/>
                <a:gd name="connsiteX3" fmla="*/ 0 w 1185862"/>
                <a:gd name="connsiteY3" fmla="*/ 695325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5862" h="695325">
                  <a:moveTo>
                    <a:pt x="1185862" y="0"/>
                  </a:moveTo>
                  <a:lnTo>
                    <a:pt x="647699" y="538163"/>
                  </a:lnTo>
                  <a:lnTo>
                    <a:pt x="157162" y="538163"/>
                  </a:lnTo>
                  <a:lnTo>
                    <a:pt x="0" y="6953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6" name="Freeform 435"/>
            <p:cNvSpPr/>
            <p:nvPr/>
          </p:nvSpPr>
          <p:spPr>
            <a:xfrm>
              <a:off x="11374438" y="3036889"/>
              <a:ext cx="819150" cy="490537"/>
            </a:xfrm>
            <a:custGeom>
              <a:avLst/>
              <a:gdLst>
                <a:gd name="connsiteX0" fmla="*/ 819150 w 819150"/>
                <a:gd name="connsiteY0" fmla="*/ 0 h 490537"/>
                <a:gd name="connsiteX1" fmla="*/ 528638 w 819150"/>
                <a:gd name="connsiteY1" fmla="*/ 290512 h 490537"/>
                <a:gd name="connsiteX2" fmla="*/ 452438 w 819150"/>
                <a:gd name="connsiteY2" fmla="*/ 290512 h 490537"/>
                <a:gd name="connsiteX3" fmla="*/ 252413 w 819150"/>
                <a:gd name="connsiteY3" fmla="*/ 490537 h 490537"/>
                <a:gd name="connsiteX4" fmla="*/ 0 w 819150"/>
                <a:gd name="connsiteY4" fmla="*/ 490537 h 490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9150" h="490537">
                  <a:moveTo>
                    <a:pt x="819150" y="0"/>
                  </a:moveTo>
                  <a:lnTo>
                    <a:pt x="528638" y="290512"/>
                  </a:lnTo>
                  <a:lnTo>
                    <a:pt x="452438" y="290512"/>
                  </a:lnTo>
                  <a:lnTo>
                    <a:pt x="252413" y="490537"/>
                  </a:lnTo>
                  <a:lnTo>
                    <a:pt x="0" y="4905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7" name="Freeform 436"/>
            <p:cNvSpPr/>
            <p:nvPr/>
          </p:nvSpPr>
          <p:spPr>
            <a:xfrm>
              <a:off x="9864725" y="3194051"/>
              <a:ext cx="2333626" cy="1338263"/>
            </a:xfrm>
            <a:custGeom>
              <a:avLst/>
              <a:gdLst>
                <a:gd name="connsiteX0" fmla="*/ 2333626 w 2333626"/>
                <a:gd name="connsiteY0" fmla="*/ 0 h 1338263"/>
                <a:gd name="connsiteX1" fmla="*/ 2062163 w 2333626"/>
                <a:gd name="connsiteY1" fmla="*/ 271463 h 1338263"/>
                <a:gd name="connsiteX2" fmla="*/ 1976438 w 2333626"/>
                <a:gd name="connsiteY2" fmla="*/ 271463 h 1338263"/>
                <a:gd name="connsiteX3" fmla="*/ 1790701 w 2333626"/>
                <a:gd name="connsiteY3" fmla="*/ 457200 h 1338263"/>
                <a:gd name="connsiteX4" fmla="*/ 1471613 w 2333626"/>
                <a:gd name="connsiteY4" fmla="*/ 457200 h 1338263"/>
                <a:gd name="connsiteX5" fmla="*/ 1138238 w 2333626"/>
                <a:gd name="connsiteY5" fmla="*/ 790575 h 1338263"/>
                <a:gd name="connsiteX6" fmla="*/ 904876 w 2333626"/>
                <a:gd name="connsiteY6" fmla="*/ 790575 h 1338263"/>
                <a:gd name="connsiteX7" fmla="*/ 581026 w 2333626"/>
                <a:gd name="connsiteY7" fmla="*/ 1114425 h 1338263"/>
                <a:gd name="connsiteX8" fmla="*/ 433388 w 2333626"/>
                <a:gd name="connsiteY8" fmla="*/ 1114425 h 1338263"/>
                <a:gd name="connsiteX9" fmla="*/ 376238 w 2333626"/>
                <a:gd name="connsiteY9" fmla="*/ 1171575 h 1338263"/>
                <a:gd name="connsiteX10" fmla="*/ 166688 w 2333626"/>
                <a:gd name="connsiteY10" fmla="*/ 1171575 h 1338263"/>
                <a:gd name="connsiteX11" fmla="*/ 0 w 2333626"/>
                <a:gd name="connsiteY11" fmla="*/ 1338263 h 1338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3626" h="1338263">
                  <a:moveTo>
                    <a:pt x="2333626" y="0"/>
                  </a:moveTo>
                  <a:lnTo>
                    <a:pt x="2062163" y="271463"/>
                  </a:lnTo>
                  <a:lnTo>
                    <a:pt x="1976438" y="271463"/>
                  </a:lnTo>
                  <a:lnTo>
                    <a:pt x="1790701" y="457200"/>
                  </a:lnTo>
                  <a:lnTo>
                    <a:pt x="1471613" y="457200"/>
                  </a:lnTo>
                  <a:lnTo>
                    <a:pt x="1138238" y="790575"/>
                  </a:lnTo>
                  <a:lnTo>
                    <a:pt x="904876" y="790575"/>
                  </a:lnTo>
                  <a:lnTo>
                    <a:pt x="581026" y="1114425"/>
                  </a:lnTo>
                  <a:lnTo>
                    <a:pt x="433388" y="1114425"/>
                  </a:lnTo>
                  <a:lnTo>
                    <a:pt x="376238" y="1171575"/>
                  </a:lnTo>
                  <a:lnTo>
                    <a:pt x="166688" y="1171575"/>
                  </a:lnTo>
                  <a:lnTo>
                    <a:pt x="0" y="13382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8" name="Freeform 437"/>
            <p:cNvSpPr/>
            <p:nvPr/>
          </p:nvSpPr>
          <p:spPr>
            <a:xfrm>
              <a:off x="9736139" y="3260725"/>
              <a:ext cx="2462213" cy="1581150"/>
            </a:xfrm>
            <a:custGeom>
              <a:avLst/>
              <a:gdLst>
                <a:gd name="connsiteX0" fmla="*/ 2462213 w 2462213"/>
                <a:gd name="connsiteY0" fmla="*/ 0 h 1581150"/>
                <a:gd name="connsiteX1" fmla="*/ 2219325 w 2462213"/>
                <a:gd name="connsiteY1" fmla="*/ 242888 h 1581150"/>
                <a:gd name="connsiteX2" fmla="*/ 2119313 w 2462213"/>
                <a:gd name="connsiteY2" fmla="*/ 242888 h 1581150"/>
                <a:gd name="connsiteX3" fmla="*/ 1909763 w 2462213"/>
                <a:gd name="connsiteY3" fmla="*/ 452438 h 1581150"/>
                <a:gd name="connsiteX4" fmla="*/ 1762125 w 2462213"/>
                <a:gd name="connsiteY4" fmla="*/ 452438 h 1581150"/>
                <a:gd name="connsiteX5" fmla="*/ 1428750 w 2462213"/>
                <a:gd name="connsiteY5" fmla="*/ 785813 h 1581150"/>
                <a:gd name="connsiteX6" fmla="*/ 1066800 w 2462213"/>
                <a:gd name="connsiteY6" fmla="*/ 785813 h 1581150"/>
                <a:gd name="connsiteX7" fmla="*/ 719138 w 2462213"/>
                <a:gd name="connsiteY7" fmla="*/ 1133475 h 1581150"/>
                <a:gd name="connsiteX8" fmla="*/ 342900 w 2462213"/>
                <a:gd name="connsiteY8" fmla="*/ 1133475 h 1581150"/>
                <a:gd name="connsiteX9" fmla="*/ 9525 w 2462213"/>
                <a:gd name="connsiteY9" fmla="*/ 1466850 h 1581150"/>
                <a:gd name="connsiteX10" fmla="*/ 0 w 2462213"/>
                <a:gd name="connsiteY10" fmla="*/ 1581150 h 158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62213" h="1581150">
                  <a:moveTo>
                    <a:pt x="2462213" y="0"/>
                  </a:moveTo>
                  <a:lnTo>
                    <a:pt x="2219325" y="242888"/>
                  </a:lnTo>
                  <a:lnTo>
                    <a:pt x="2119313" y="242888"/>
                  </a:lnTo>
                  <a:lnTo>
                    <a:pt x="1909763" y="452438"/>
                  </a:lnTo>
                  <a:lnTo>
                    <a:pt x="1762125" y="452438"/>
                  </a:lnTo>
                  <a:lnTo>
                    <a:pt x="1428750" y="785813"/>
                  </a:lnTo>
                  <a:lnTo>
                    <a:pt x="1066800" y="785813"/>
                  </a:lnTo>
                  <a:lnTo>
                    <a:pt x="719138" y="1133475"/>
                  </a:lnTo>
                  <a:lnTo>
                    <a:pt x="342900" y="1133475"/>
                  </a:lnTo>
                  <a:lnTo>
                    <a:pt x="9525" y="1466850"/>
                  </a:lnTo>
                  <a:lnTo>
                    <a:pt x="0" y="15811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9" name="Freeform 438"/>
            <p:cNvSpPr/>
            <p:nvPr/>
          </p:nvSpPr>
          <p:spPr>
            <a:xfrm>
              <a:off x="8561388" y="3841750"/>
              <a:ext cx="3644900" cy="2628900"/>
            </a:xfrm>
            <a:custGeom>
              <a:avLst/>
              <a:gdLst>
                <a:gd name="connsiteX0" fmla="*/ 3644900 w 3644900"/>
                <a:gd name="connsiteY0" fmla="*/ 0 h 2628900"/>
                <a:gd name="connsiteX1" fmla="*/ 3403600 w 3644900"/>
                <a:gd name="connsiteY1" fmla="*/ 0 h 2628900"/>
                <a:gd name="connsiteX2" fmla="*/ 3136900 w 3644900"/>
                <a:gd name="connsiteY2" fmla="*/ 266700 h 2628900"/>
                <a:gd name="connsiteX3" fmla="*/ 2882900 w 3644900"/>
                <a:gd name="connsiteY3" fmla="*/ 266700 h 2628900"/>
                <a:gd name="connsiteX4" fmla="*/ 2432050 w 3644900"/>
                <a:gd name="connsiteY4" fmla="*/ 717550 h 2628900"/>
                <a:gd name="connsiteX5" fmla="*/ 1854200 w 3644900"/>
                <a:gd name="connsiteY5" fmla="*/ 717550 h 2628900"/>
                <a:gd name="connsiteX6" fmla="*/ 1530350 w 3644900"/>
                <a:gd name="connsiteY6" fmla="*/ 1041400 h 2628900"/>
                <a:gd name="connsiteX7" fmla="*/ 1435100 w 3644900"/>
                <a:gd name="connsiteY7" fmla="*/ 1041400 h 2628900"/>
                <a:gd name="connsiteX8" fmla="*/ 863600 w 3644900"/>
                <a:gd name="connsiteY8" fmla="*/ 1612900 h 2628900"/>
                <a:gd name="connsiteX9" fmla="*/ 863600 w 3644900"/>
                <a:gd name="connsiteY9" fmla="*/ 1835150 h 2628900"/>
                <a:gd name="connsiteX10" fmla="*/ 793750 w 3644900"/>
                <a:gd name="connsiteY10" fmla="*/ 1835150 h 2628900"/>
                <a:gd name="connsiteX11" fmla="*/ 0 w 3644900"/>
                <a:gd name="connsiteY11" fmla="*/ 2628900 h 262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44900" h="2628900">
                  <a:moveTo>
                    <a:pt x="3644900" y="0"/>
                  </a:moveTo>
                  <a:lnTo>
                    <a:pt x="3403600" y="0"/>
                  </a:lnTo>
                  <a:lnTo>
                    <a:pt x="3136900" y="266700"/>
                  </a:lnTo>
                  <a:lnTo>
                    <a:pt x="2882900" y="266700"/>
                  </a:lnTo>
                  <a:lnTo>
                    <a:pt x="2432050" y="717550"/>
                  </a:lnTo>
                  <a:lnTo>
                    <a:pt x="1854200" y="717550"/>
                  </a:lnTo>
                  <a:lnTo>
                    <a:pt x="1530350" y="1041400"/>
                  </a:lnTo>
                  <a:lnTo>
                    <a:pt x="1435100" y="1041400"/>
                  </a:lnTo>
                  <a:lnTo>
                    <a:pt x="863600" y="1612900"/>
                  </a:lnTo>
                  <a:lnTo>
                    <a:pt x="863600" y="1835150"/>
                  </a:lnTo>
                  <a:lnTo>
                    <a:pt x="793750" y="1835150"/>
                  </a:lnTo>
                  <a:lnTo>
                    <a:pt x="0" y="2628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0" name="Freeform 439"/>
            <p:cNvSpPr/>
            <p:nvPr/>
          </p:nvSpPr>
          <p:spPr>
            <a:xfrm>
              <a:off x="8485188" y="3905250"/>
              <a:ext cx="3714750" cy="2781300"/>
            </a:xfrm>
            <a:custGeom>
              <a:avLst/>
              <a:gdLst>
                <a:gd name="connsiteX0" fmla="*/ 3714750 w 3714750"/>
                <a:gd name="connsiteY0" fmla="*/ 0 h 2781300"/>
                <a:gd name="connsiteX1" fmla="*/ 3511550 w 3714750"/>
                <a:gd name="connsiteY1" fmla="*/ 0 h 2781300"/>
                <a:gd name="connsiteX2" fmla="*/ 3219450 w 3714750"/>
                <a:gd name="connsiteY2" fmla="*/ 292100 h 2781300"/>
                <a:gd name="connsiteX3" fmla="*/ 2965450 w 3714750"/>
                <a:gd name="connsiteY3" fmla="*/ 292100 h 2781300"/>
                <a:gd name="connsiteX4" fmla="*/ 2520950 w 3714750"/>
                <a:gd name="connsiteY4" fmla="*/ 736600 h 2781300"/>
                <a:gd name="connsiteX5" fmla="*/ 1949450 w 3714750"/>
                <a:gd name="connsiteY5" fmla="*/ 736600 h 2781300"/>
                <a:gd name="connsiteX6" fmla="*/ 1612900 w 3714750"/>
                <a:gd name="connsiteY6" fmla="*/ 1073150 h 2781300"/>
                <a:gd name="connsiteX7" fmla="*/ 1517650 w 3714750"/>
                <a:gd name="connsiteY7" fmla="*/ 1073150 h 2781300"/>
                <a:gd name="connsiteX8" fmla="*/ 1041400 w 3714750"/>
                <a:gd name="connsiteY8" fmla="*/ 1549400 h 2781300"/>
                <a:gd name="connsiteX9" fmla="*/ 1041400 w 3714750"/>
                <a:gd name="connsiteY9" fmla="*/ 1879600 h 2781300"/>
                <a:gd name="connsiteX10" fmla="*/ 901700 w 3714750"/>
                <a:gd name="connsiteY10" fmla="*/ 1879600 h 2781300"/>
                <a:gd name="connsiteX11" fmla="*/ 0 w 3714750"/>
                <a:gd name="connsiteY11" fmla="*/ 2781300 h 278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14750" h="2781300">
                  <a:moveTo>
                    <a:pt x="3714750" y="0"/>
                  </a:moveTo>
                  <a:lnTo>
                    <a:pt x="3511550" y="0"/>
                  </a:lnTo>
                  <a:lnTo>
                    <a:pt x="3219450" y="292100"/>
                  </a:lnTo>
                  <a:lnTo>
                    <a:pt x="2965450" y="292100"/>
                  </a:lnTo>
                  <a:lnTo>
                    <a:pt x="2520950" y="736600"/>
                  </a:lnTo>
                  <a:lnTo>
                    <a:pt x="1949450" y="736600"/>
                  </a:lnTo>
                  <a:lnTo>
                    <a:pt x="1612900" y="1073150"/>
                  </a:lnTo>
                  <a:lnTo>
                    <a:pt x="1517650" y="1073150"/>
                  </a:lnTo>
                  <a:lnTo>
                    <a:pt x="1041400" y="1549400"/>
                  </a:lnTo>
                  <a:lnTo>
                    <a:pt x="1041400" y="1879600"/>
                  </a:lnTo>
                  <a:lnTo>
                    <a:pt x="901700" y="1879600"/>
                  </a:lnTo>
                  <a:lnTo>
                    <a:pt x="0" y="27813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41" name="Group 440"/>
            <p:cNvGrpSpPr/>
            <p:nvPr/>
          </p:nvGrpSpPr>
          <p:grpSpPr>
            <a:xfrm flipV="1">
              <a:off x="5143588" y="12700"/>
              <a:ext cx="2901950" cy="2216150"/>
              <a:chOff x="9017000" y="4648200"/>
              <a:chExt cx="2901950" cy="2216150"/>
            </a:xfrm>
          </p:grpSpPr>
          <p:sp>
            <p:nvSpPr>
              <p:cNvPr id="789" name="Freeform 788"/>
              <p:cNvSpPr/>
              <p:nvPr/>
            </p:nvSpPr>
            <p:spPr>
              <a:xfrm>
                <a:off x="9017000" y="5346700"/>
                <a:ext cx="1568450" cy="1511300"/>
              </a:xfrm>
              <a:custGeom>
                <a:avLst/>
                <a:gdLst>
                  <a:gd name="connsiteX0" fmla="*/ 0 w 1568450"/>
                  <a:gd name="connsiteY0" fmla="*/ 1511300 h 1511300"/>
                  <a:gd name="connsiteX1" fmla="*/ 781050 w 1568450"/>
                  <a:gd name="connsiteY1" fmla="*/ 730250 h 1511300"/>
                  <a:gd name="connsiteX2" fmla="*/ 781050 w 1568450"/>
                  <a:gd name="connsiteY2" fmla="*/ 539750 h 1511300"/>
                  <a:gd name="connsiteX3" fmla="*/ 1250950 w 1568450"/>
                  <a:gd name="connsiteY3" fmla="*/ 69850 h 1511300"/>
                  <a:gd name="connsiteX4" fmla="*/ 1409700 w 1568450"/>
                  <a:gd name="connsiteY4" fmla="*/ 69850 h 1511300"/>
                  <a:gd name="connsiteX5" fmla="*/ 1479550 w 1568450"/>
                  <a:gd name="connsiteY5" fmla="*/ 0 h 1511300"/>
                  <a:gd name="connsiteX6" fmla="*/ 1568450 w 1568450"/>
                  <a:gd name="connsiteY6" fmla="*/ 0 h 151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68450" h="1511300">
                    <a:moveTo>
                      <a:pt x="0" y="1511300"/>
                    </a:moveTo>
                    <a:lnTo>
                      <a:pt x="781050" y="730250"/>
                    </a:lnTo>
                    <a:lnTo>
                      <a:pt x="781050" y="539750"/>
                    </a:lnTo>
                    <a:lnTo>
                      <a:pt x="1250950" y="69850"/>
                    </a:lnTo>
                    <a:lnTo>
                      <a:pt x="1409700" y="69850"/>
                    </a:lnTo>
                    <a:lnTo>
                      <a:pt x="1479550" y="0"/>
                    </a:lnTo>
                    <a:lnTo>
                      <a:pt x="15684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0" name="Freeform 789"/>
              <p:cNvSpPr/>
              <p:nvPr/>
            </p:nvSpPr>
            <p:spPr>
              <a:xfrm>
                <a:off x="9118600" y="5511800"/>
                <a:ext cx="1390650" cy="1352550"/>
              </a:xfrm>
              <a:custGeom>
                <a:avLst/>
                <a:gdLst>
                  <a:gd name="connsiteX0" fmla="*/ 0 w 1390650"/>
                  <a:gd name="connsiteY0" fmla="*/ 1352550 h 1352550"/>
                  <a:gd name="connsiteX1" fmla="*/ 850900 w 1390650"/>
                  <a:gd name="connsiteY1" fmla="*/ 501650 h 1352550"/>
                  <a:gd name="connsiteX2" fmla="*/ 908050 w 1390650"/>
                  <a:gd name="connsiteY2" fmla="*/ 501650 h 1352550"/>
                  <a:gd name="connsiteX3" fmla="*/ 958850 w 1390650"/>
                  <a:gd name="connsiteY3" fmla="*/ 450850 h 1352550"/>
                  <a:gd name="connsiteX4" fmla="*/ 958850 w 1390650"/>
                  <a:gd name="connsiteY4" fmla="*/ 190500 h 1352550"/>
                  <a:gd name="connsiteX5" fmla="*/ 1149350 w 1390650"/>
                  <a:gd name="connsiteY5" fmla="*/ 0 h 1352550"/>
                  <a:gd name="connsiteX6" fmla="*/ 1339850 w 1390650"/>
                  <a:gd name="connsiteY6" fmla="*/ 0 h 1352550"/>
                  <a:gd name="connsiteX7" fmla="*/ 1390650 w 1390650"/>
                  <a:gd name="connsiteY7" fmla="*/ 50800 h 135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0650" h="1352550">
                    <a:moveTo>
                      <a:pt x="0" y="1352550"/>
                    </a:moveTo>
                    <a:lnTo>
                      <a:pt x="850900" y="501650"/>
                    </a:lnTo>
                    <a:lnTo>
                      <a:pt x="908050" y="501650"/>
                    </a:lnTo>
                    <a:lnTo>
                      <a:pt x="958850" y="450850"/>
                    </a:lnTo>
                    <a:lnTo>
                      <a:pt x="958850" y="190500"/>
                    </a:lnTo>
                    <a:lnTo>
                      <a:pt x="1149350" y="0"/>
                    </a:lnTo>
                    <a:lnTo>
                      <a:pt x="1339850" y="0"/>
                    </a:lnTo>
                    <a:lnTo>
                      <a:pt x="1390650" y="5080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1" name="Freeform 790"/>
              <p:cNvSpPr/>
              <p:nvPr/>
            </p:nvSpPr>
            <p:spPr>
              <a:xfrm>
                <a:off x="9175750" y="5702300"/>
                <a:ext cx="1301750" cy="1155700"/>
              </a:xfrm>
              <a:custGeom>
                <a:avLst/>
                <a:gdLst>
                  <a:gd name="connsiteX0" fmla="*/ 0 w 1301750"/>
                  <a:gd name="connsiteY0" fmla="*/ 1155700 h 1155700"/>
                  <a:gd name="connsiteX1" fmla="*/ 781050 w 1301750"/>
                  <a:gd name="connsiteY1" fmla="*/ 374650 h 1155700"/>
                  <a:gd name="connsiteX2" fmla="*/ 927100 w 1301750"/>
                  <a:gd name="connsiteY2" fmla="*/ 374650 h 1155700"/>
                  <a:gd name="connsiteX3" fmla="*/ 1301750 w 1301750"/>
                  <a:gd name="connsiteY3" fmla="*/ 0 h 1155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1750" h="1155700">
                    <a:moveTo>
                      <a:pt x="0" y="1155700"/>
                    </a:moveTo>
                    <a:lnTo>
                      <a:pt x="781050" y="374650"/>
                    </a:lnTo>
                    <a:lnTo>
                      <a:pt x="927100" y="374650"/>
                    </a:lnTo>
                    <a:lnTo>
                      <a:pt x="13017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2" name="Freeform 791"/>
              <p:cNvSpPr/>
              <p:nvPr/>
            </p:nvSpPr>
            <p:spPr>
              <a:xfrm>
                <a:off x="9232900" y="4648200"/>
                <a:ext cx="2508250" cy="2216150"/>
              </a:xfrm>
              <a:custGeom>
                <a:avLst/>
                <a:gdLst>
                  <a:gd name="connsiteX0" fmla="*/ 0 w 2508250"/>
                  <a:gd name="connsiteY0" fmla="*/ 2216150 h 2216150"/>
                  <a:gd name="connsiteX1" fmla="*/ 704850 w 2508250"/>
                  <a:gd name="connsiteY1" fmla="*/ 1511300 h 2216150"/>
                  <a:gd name="connsiteX2" fmla="*/ 946150 w 2508250"/>
                  <a:gd name="connsiteY2" fmla="*/ 1511300 h 2216150"/>
                  <a:gd name="connsiteX3" fmla="*/ 1638300 w 2508250"/>
                  <a:gd name="connsiteY3" fmla="*/ 819150 h 2216150"/>
                  <a:gd name="connsiteX4" fmla="*/ 1638300 w 2508250"/>
                  <a:gd name="connsiteY4" fmla="*/ 679450 h 2216150"/>
                  <a:gd name="connsiteX5" fmla="*/ 1752600 w 2508250"/>
                  <a:gd name="connsiteY5" fmla="*/ 565150 h 2216150"/>
                  <a:gd name="connsiteX6" fmla="*/ 1943100 w 2508250"/>
                  <a:gd name="connsiteY6" fmla="*/ 565150 h 2216150"/>
                  <a:gd name="connsiteX7" fmla="*/ 2508250 w 2508250"/>
                  <a:gd name="connsiteY7" fmla="*/ 0 h 2216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08250" h="2216150">
                    <a:moveTo>
                      <a:pt x="0" y="2216150"/>
                    </a:moveTo>
                    <a:lnTo>
                      <a:pt x="704850" y="1511300"/>
                    </a:lnTo>
                    <a:lnTo>
                      <a:pt x="946150" y="1511300"/>
                    </a:lnTo>
                    <a:lnTo>
                      <a:pt x="1638300" y="819150"/>
                    </a:lnTo>
                    <a:lnTo>
                      <a:pt x="1638300" y="679450"/>
                    </a:lnTo>
                    <a:lnTo>
                      <a:pt x="1752600" y="565150"/>
                    </a:lnTo>
                    <a:lnTo>
                      <a:pt x="1943100" y="565150"/>
                    </a:lnTo>
                    <a:lnTo>
                      <a:pt x="25082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3" name="Freeform 792"/>
              <p:cNvSpPr/>
              <p:nvPr/>
            </p:nvSpPr>
            <p:spPr>
              <a:xfrm>
                <a:off x="9436100" y="5302250"/>
                <a:ext cx="1593850" cy="1562100"/>
              </a:xfrm>
              <a:custGeom>
                <a:avLst/>
                <a:gdLst>
                  <a:gd name="connsiteX0" fmla="*/ 0 w 1593850"/>
                  <a:gd name="connsiteY0" fmla="*/ 1562100 h 1562100"/>
                  <a:gd name="connsiteX1" fmla="*/ 622300 w 1593850"/>
                  <a:gd name="connsiteY1" fmla="*/ 939800 h 1562100"/>
                  <a:gd name="connsiteX2" fmla="*/ 825500 w 1593850"/>
                  <a:gd name="connsiteY2" fmla="*/ 939800 h 1562100"/>
                  <a:gd name="connsiteX3" fmla="*/ 1593850 w 1593850"/>
                  <a:gd name="connsiteY3" fmla="*/ 171450 h 1562100"/>
                  <a:gd name="connsiteX4" fmla="*/ 1593850 w 1593850"/>
                  <a:gd name="connsiteY4" fmla="*/ 0 h 156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3850" h="1562100">
                    <a:moveTo>
                      <a:pt x="0" y="1562100"/>
                    </a:moveTo>
                    <a:lnTo>
                      <a:pt x="622300" y="939800"/>
                    </a:lnTo>
                    <a:lnTo>
                      <a:pt x="825500" y="939800"/>
                    </a:lnTo>
                    <a:lnTo>
                      <a:pt x="1593850" y="171450"/>
                    </a:lnTo>
                    <a:lnTo>
                      <a:pt x="15938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4" name="Freeform 793"/>
              <p:cNvSpPr/>
              <p:nvPr/>
            </p:nvSpPr>
            <p:spPr>
              <a:xfrm>
                <a:off x="9874250" y="5638800"/>
                <a:ext cx="1365250" cy="1212850"/>
              </a:xfrm>
              <a:custGeom>
                <a:avLst/>
                <a:gdLst>
                  <a:gd name="connsiteX0" fmla="*/ 0 w 1365250"/>
                  <a:gd name="connsiteY0" fmla="*/ 1212850 h 1212850"/>
                  <a:gd name="connsiteX1" fmla="*/ 730250 w 1365250"/>
                  <a:gd name="connsiteY1" fmla="*/ 482600 h 1212850"/>
                  <a:gd name="connsiteX2" fmla="*/ 863600 w 1365250"/>
                  <a:gd name="connsiteY2" fmla="*/ 482600 h 1212850"/>
                  <a:gd name="connsiteX3" fmla="*/ 927100 w 1365250"/>
                  <a:gd name="connsiteY3" fmla="*/ 419100 h 1212850"/>
                  <a:gd name="connsiteX4" fmla="*/ 927100 w 1365250"/>
                  <a:gd name="connsiteY4" fmla="*/ 184150 h 1212850"/>
                  <a:gd name="connsiteX5" fmla="*/ 1111250 w 1365250"/>
                  <a:gd name="connsiteY5" fmla="*/ 0 h 1212850"/>
                  <a:gd name="connsiteX6" fmla="*/ 1320800 w 1365250"/>
                  <a:gd name="connsiteY6" fmla="*/ 0 h 1212850"/>
                  <a:gd name="connsiteX7" fmla="*/ 1365250 w 1365250"/>
                  <a:gd name="connsiteY7" fmla="*/ 44450 h 1212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65250" h="1212850">
                    <a:moveTo>
                      <a:pt x="0" y="1212850"/>
                    </a:moveTo>
                    <a:lnTo>
                      <a:pt x="730250" y="482600"/>
                    </a:lnTo>
                    <a:lnTo>
                      <a:pt x="863600" y="482600"/>
                    </a:lnTo>
                    <a:lnTo>
                      <a:pt x="927100" y="419100"/>
                    </a:lnTo>
                    <a:lnTo>
                      <a:pt x="927100" y="184150"/>
                    </a:lnTo>
                    <a:lnTo>
                      <a:pt x="1111250" y="0"/>
                    </a:lnTo>
                    <a:lnTo>
                      <a:pt x="1320800" y="0"/>
                    </a:lnTo>
                    <a:lnTo>
                      <a:pt x="1365250" y="4445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5" name="Freeform 794"/>
              <p:cNvSpPr/>
              <p:nvPr/>
            </p:nvSpPr>
            <p:spPr>
              <a:xfrm>
                <a:off x="10001250" y="5219700"/>
                <a:ext cx="1460500" cy="1638300"/>
              </a:xfrm>
              <a:custGeom>
                <a:avLst/>
                <a:gdLst>
                  <a:gd name="connsiteX0" fmla="*/ 0 w 1460500"/>
                  <a:gd name="connsiteY0" fmla="*/ 1638300 h 1638300"/>
                  <a:gd name="connsiteX1" fmla="*/ 641350 w 1460500"/>
                  <a:gd name="connsiteY1" fmla="*/ 996950 h 1638300"/>
                  <a:gd name="connsiteX2" fmla="*/ 857250 w 1460500"/>
                  <a:gd name="connsiteY2" fmla="*/ 996950 h 1638300"/>
                  <a:gd name="connsiteX3" fmla="*/ 1460500 w 1460500"/>
                  <a:gd name="connsiteY3" fmla="*/ 393700 h 1638300"/>
                  <a:gd name="connsiteX4" fmla="*/ 1460500 w 1460500"/>
                  <a:gd name="connsiteY4" fmla="*/ 0 h 163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0500" h="1638300">
                    <a:moveTo>
                      <a:pt x="0" y="1638300"/>
                    </a:moveTo>
                    <a:lnTo>
                      <a:pt x="641350" y="996950"/>
                    </a:lnTo>
                    <a:lnTo>
                      <a:pt x="857250" y="996950"/>
                    </a:lnTo>
                    <a:lnTo>
                      <a:pt x="1460500" y="393700"/>
                    </a:lnTo>
                    <a:lnTo>
                      <a:pt x="146050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6" name="Freeform 795"/>
              <p:cNvSpPr/>
              <p:nvPr/>
            </p:nvSpPr>
            <p:spPr>
              <a:xfrm>
                <a:off x="10071100" y="4686300"/>
                <a:ext cx="1847850" cy="2178050"/>
              </a:xfrm>
              <a:custGeom>
                <a:avLst/>
                <a:gdLst>
                  <a:gd name="connsiteX0" fmla="*/ 0 w 1847850"/>
                  <a:gd name="connsiteY0" fmla="*/ 2178050 h 2178050"/>
                  <a:gd name="connsiteX1" fmla="*/ 584200 w 1847850"/>
                  <a:gd name="connsiteY1" fmla="*/ 1593850 h 2178050"/>
                  <a:gd name="connsiteX2" fmla="*/ 838200 w 1847850"/>
                  <a:gd name="connsiteY2" fmla="*/ 1593850 h 2178050"/>
                  <a:gd name="connsiteX3" fmla="*/ 1479550 w 1847850"/>
                  <a:gd name="connsiteY3" fmla="*/ 952500 h 2178050"/>
                  <a:gd name="connsiteX4" fmla="*/ 1479550 w 1847850"/>
                  <a:gd name="connsiteY4" fmla="*/ 698500 h 2178050"/>
                  <a:gd name="connsiteX5" fmla="*/ 1847850 w 1847850"/>
                  <a:gd name="connsiteY5" fmla="*/ 330200 h 2178050"/>
                  <a:gd name="connsiteX6" fmla="*/ 1847850 w 1847850"/>
                  <a:gd name="connsiteY6" fmla="*/ 0 h 2178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47850" h="2178050">
                    <a:moveTo>
                      <a:pt x="0" y="2178050"/>
                    </a:moveTo>
                    <a:lnTo>
                      <a:pt x="584200" y="1593850"/>
                    </a:lnTo>
                    <a:lnTo>
                      <a:pt x="838200" y="1593850"/>
                    </a:lnTo>
                    <a:lnTo>
                      <a:pt x="1479550" y="952500"/>
                    </a:lnTo>
                    <a:lnTo>
                      <a:pt x="1479550" y="698500"/>
                    </a:lnTo>
                    <a:lnTo>
                      <a:pt x="1847850" y="330200"/>
                    </a:lnTo>
                    <a:lnTo>
                      <a:pt x="18478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7" name="Freeform 796"/>
              <p:cNvSpPr/>
              <p:nvPr/>
            </p:nvSpPr>
            <p:spPr>
              <a:xfrm>
                <a:off x="10166350" y="5422900"/>
                <a:ext cx="1536700" cy="1441450"/>
              </a:xfrm>
              <a:custGeom>
                <a:avLst/>
                <a:gdLst>
                  <a:gd name="connsiteX0" fmla="*/ 0 w 1536700"/>
                  <a:gd name="connsiteY0" fmla="*/ 1441450 h 1441450"/>
                  <a:gd name="connsiteX1" fmla="*/ 508000 w 1536700"/>
                  <a:gd name="connsiteY1" fmla="*/ 933450 h 1441450"/>
                  <a:gd name="connsiteX2" fmla="*/ 793750 w 1536700"/>
                  <a:gd name="connsiteY2" fmla="*/ 933450 h 1441450"/>
                  <a:gd name="connsiteX3" fmla="*/ 1536700 w 1536700"/>
                  <a:gd name="connsiteY3" fmla="*/ 190500 h 1441450"/>
                  <a:gd name="connsiteX4" fmla="*/ 1536700 w 1536700"/>
                  <a:gd name="connsiteY4" fmla="*/ 0 h 144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6700" h="1441450">
                    <a:moveTo>
                      <a:pt x="0" y="1441450"/>
                    </a:moveTo>
                    <a:lnTo>
                      <a:pt x="508000" y="933450"/>
                    </a:lnTo>
                    <a:lnTo>
                      <a:pt x="793750" y="933450"/>
                    </a:lnTo>
                    <a:lnTo>
                      <a:pt x="1536700" y="190500"/>
                    </a:lnTo>
                    <a:lnTo>
                      <a:pt x="153670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42" name="Freeform 441"/>
            <p:cNvSpPr/>
            <p:nvPr/>
          </p:nvSpPr>
          <p:spPr>
            <a:xfrm>
              <a:off x="10460038" y="4121150"/>
              <a:ext cx="1727200" cy="977900"/>
            </a:xfrm>
            <a:custGeom>
              <a:avLst/>
              <a:gdLst>
                <a:gd name="connsiteX0" fmla="*/ 1727200 w 1727200"/>
                <a:gd name="connsiteY0" fmla="*/ 0 h 977900"/>
                <a:gd name="connsiteX1" fmla="*/ 1562100 w 1727200"/>
                <a:gd name="connsiteY1" fmla="*/ 0 h 977900"/>
                <a:gd name="connsiteX2" fmla="*/ 812800 w 1727200"/>
                <a:gd name="connsiteY2" fmla="*/ 749300 h 977900"/>
                <a:gd name="connsiteX3" fmla="*/ 228600 w 1727200"/>
                <a:gd name="connsiteY3" fmla="*/ 749300 h 977900"/>
                <a:gd name="connsiteX4" fmla="*/ 0 w 1727200"/>
                <a:gd name="connsiteY4" fmla="*/ 977900 h 97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7200" h="977900">
                  <a:moveTo>
                    <a:pt x="1727200" y="0"/>
                  </a:moveTo>
                  <a:lnTo>
                    <a:pt x="1562100" y="0"/>
                  </a:lnTo>
                  <a:lnTo>
                    <a:pt x="812800" y="749300"/>
                  </a:lnTo>
                  <a:lnTo>
                    <a:pt x="228600" y="749300"/>
                  </a:lnTo>
                  <a:lnTo>
                    <a:pt x="0" y="977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3" name="Freeform 442"/>
            <p:cNvSpPr/>
            <p:nvPr/>
          </p:nvSpPr>
          <p:spPr>
            <a:xfrm>
              <a:off x="7431088" y="4273550"/>
              <a:ext cx="2597150" cy="2616200"/>
            </a:xfrm>
            <a:custGeom>
              <a:avLst/>
              <a:gdLst>
                <a:gd name="connsiteX0" fmla="*/ 0 w 2597150"/>
                <a:gd name="connsiteY0" fmla="*/ 2616200 h 2616200"/>
                <a:gd name="connsiteX1" fmla="*/ 1885950 w 2597150"/>
                <a:gd name="connsiteY1" fmla="*/ 730250 h 2616200"/>
                <a:gd name="connsiteX2" fmla="*/ 1924050 w 2597150"/>
                <a:gd name="connsiteY2" fmla="*/ 692150 h 2616200"/>
                <a:gd name="connsiteX3" fmla="*/ 2082800 w 2597150"/>
                <a:gd name="connsiteY3" fmla="*/ 533400 h 2616200"/>
                <a:gd name="connsiteX4" fmla="*/ 2082800 w 2597150"/>
                <a:gd name="connsiteY4" fmla="*/ 330200 h 2616200"/>
                <a:gd name="connsiteX5" fmla="*/ 2279650 w 2597150"/>
                <a:gd name="connsiteY5" fmla="*/ 133350 h 2616200"/>
                <a:gd name="connsiteX6" fmla="*/ 2463800 w 2597150"/>
                <a:gd name="connsiteY6" fmla="*/ 133350 h 2616200"/>
                <a:gd name="connsiteX7" fmla="*/ 2597150 w 2597150"/>
                <a:gd name="connsiteY7" fmla="*/ 0 h 261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7150" h="2616200">
                  <a:moveTo>
                    <a:pt x="0" y="2616200"/>
                  </a:moveTo>
                  <a:lnTo>
                    <a:pt x="1885950" y="730250"/>
                  </a:lnTo>
                  <a:lnTo>
                    <a:pt x="1924050" y="692150"/>
                  </a:lnTo>
                  <a:lnTo>
                    <a:pt x="2082800" y="533400"/>
                  </a:lnTo>
                  <a:lnTo>
                    <a:pt x="2082800" y="330200"/>
                  </a:lnTo>
                  <a:lnTo>
                    <a:pt x="2279650" y="133350"/>
                  </a:lnTo>
                  <a:lnTo>
                    <a:pt x="2463800" y="133350"/>
                  </a:lnTo>
                  <a:lnTo>
                    <a:pt x="25971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4" name="Freeform 443"/>
            <p:cNvSpPr/>
            <p:nvPr/>
          </p:nvSpPr>
          <p:spPr>
            <a:xfrm>
              <a:off x="7005638" y="4394200"/>
              <a:ext cx="2546350" cy="2463800"/>
            </a:xfrm>
            <a:custGeom>
              <a:avLst/>
              <a:gdLst>
                <a:gd name="connsiteX0" fmla="*/ 0 w 2546350"/>
                <a:gd name="connsiteY0" fmla="*/ 2463800 h 2463800"/>
                <a:gd name="connsiteX1" fmla="*/ 1428750 w 2546350"/>
                <a:gd name="connsiteY1" fmla="*/ 1035050 h 2463800"/>
                <a:gd name="connsiteX2" fmla="*/ 1835150 w 2546350"/>
                <a:gd name="connsiteY2" fmla="*/ 1035050 h 2463800"/>
                <a:gd name="connsiteX3" fmla="*/ 2063750 w 2546350"/>
                <a:gd name="connsiteY3" fmla="*/ 806450 h 2463800"/>
                <a:gd name="connsiteX4" fmla="*/ 2063750 w 2546350"/>
                <a:gd name="connsiteY4" fmla="*/ 654050 h 2463800"/>
                <a:gd name="connsiteX5" fmla="*/ 2343150 w 2546350"/>
                <a:gd name="connsiteY5" fmla="*/ 374650 h 2463800"/>
                <a:gd name="connsiteX6" fmla="*/ 2343150 w 2546350"/>
                <a:gd name="connsiteY6" fmla="*/ 107950 h 2463800"/>
                <a:gd name="connsiteX7" fmla="*/ 2451100 w 2546350"/>
                <a:gd name="connsiteY7" fmla="*/ 0 h 2463800"/>
                <a:gd name="connsiteX8" fmla="*/ 2546350 w 2546350"/>
                <a:gd name="connsiteY8" fmla="*/ 0 h 2463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46350" h="2463800">
                  <a:moveTo>
                    <a:pt x="0" y="2463800"/>
                  </a:moveTo>
                  <a:lnTo>
                    <a:pt x="1428750" y="1035050"/>
                  </a:lnTo>
                  <a:lnTo>
                    <a:pt x="1835150" y="1035050"/>
                  </a:lnTo>
                  <a:lnTo>
                    <a:pt x="2063750" y="806450"/>
                  </a:lnTo>
                  <a:lnTo>
                    <a:pt x="2063750" y="654050"/>
                  </a:lnTo>
                  <a:lnTo>
                    <a:pt x="2343150" y="374650"/>
                  </a:lnTo>
                  <a:lnTo>
                    <a:pt x="2343150" y="107950"/>
                  </a:lnTo>
                  <a:lnTo>
                    <a:pt x="2451100" y="0"/>
                  </a:lnTo>
                  <a:lnTo>
                    <a:pt x="25463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5" name="Freeform 444"/>
            <p:cNvSpPr/>
            <p:nvPr/>
          </p:nvSpPr>
          <p:spPr>
            <a:xfrm>
              <a:off x="6865938" y="4273550"/>
              <a:ext cx="2971800" cy="2597150"/>
            </a:xfrm>
            <a:custGeom>
              <a:avLst/>
              <a:gdLst>
                <a:gd name="connsiteX0" fmla="*/ 0 w 2971800"/>
                <a:gd name="connsiteY0" fmla="*/ 2597150 h 2597150"/>
                <a:gd name="connsiteX1" fmla="*/ 1485900 w 2971800"/>
                <a:gd name="connsiteY1" fmla="*/ 1111250 h 2597150"/>
                <a:gd name="connsiteX2" fmla="*/ 1930400 w 2971800"/>
                <a:gd name="connsiteY2" fmla="*/ 1111250 h 2597150"/>
                <a:gd name="connsiteX3" fmla="*/ 2127250 w 2971800"/>
                <a:gd name="connsiteY3" fmla="*/ 914400 h 2597150"/>
                <a:gd name="connsiteX4" fmla="*/ 2127250 w 2971800"/>
                <a:gd name="connsiteY4" fmla="*/ 711200 h 2597150"/>
                <a:gd name="connsiteX5" fmla="*/ 2374900 w 2971800"/>
                <a:gd name="connsiteY5" fmla="*/ 463550 h 2597150"/>
                <a:gd name="connsiteX6" fmla="*/ 2374900 w 2971800"/>
                <a:gd name="connsiteY6" fmla="*/ 0 h 2597150"/>
                <a:gd name="connsiteX7" fmla="*/ 2971800 w 2971800"/>
                <a:gd name="connsiteY7" fmla="*/ 0 h 259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71800" h="2597150">
                  <a:moveTo>
                    <a:pt x="0" y="2597150"/>
                  </a:moveTo>
                  <a:lnTo>
                    <a:pt x="1485900" y="1111250"/>
                  </a:lnTo>
                  <a:lnTo>
                    <a:pt x="1930400" y="1111250"/>
                  </a:lnTo>
                  <a:lnTo>
                    <a:pt x="2127250" y="914400"/>
                  </a:lnTo>
                  <a:lnTo>
                    <a:pt x="2127250" y="711200"/>
                  </a:lnTo>
                  <a:lnTo>
                    <a:pt x="2374900" y="463550"/>
                  </a:lnTo>
                  <a:lnTo>
                    <a:pt x="2374900" y="0"/>
                  </a:lnTo>
                  <a:lnTo>
                    <a:pt x="29718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6" name="Freeform 445"/>
            <p:cNvSpPr/>
            <p:nvPr/>
          </p:nvSpPr>
          <p:spPr>
            <a:xfrm rot="8100000" flipH="1" flipV="1">
              <a:off x="5299032" y="3340640"/>
              <a:ext cx="2384108" cy="2272261"/>
            </a:xfrm>
            <a:custGeom>
              <a:avLst/>
              <a:gdLst>
                <a:gd name="connsiteX0" fmla="*/ 0 w 2571750"/>
                <a:gd name="connsiteY0" fmla="*/ 2451100 h 2451100"/>
                <a:gd name="connsiteX1" fmla="*/ 1670050 w 2571750"/>
                <a:gd name="connsiteY1" fmla="*/ 781050 h 2451100"/>
                <a:gd name="connsiteX2" fmla="*/ 2120900 w 2571750"/>
                <a:gd name="connsiteY2" fmla="*/ 781050 h 2451100"/>
                <a:gd name="connsiteX3" fmla="*/ 2324100 w 2571750"/>
                <a:gd name="connsiteY3" fmla="*/ 577850 h 2451100"/>
                <a:gd name="connsiteX4" fmla="*/ 2324100 w 2571750"/>
                <a:gd name="connsiteY4" fmla="*/ 438150 h 2451100"/>
                <a:gd name="connsiteX5" fmla="*/ 2571750 w 2571750"/>
                <a:gd name="connsiteY5" fmla="*/ 190500 h 2451100"/>
                <a:gd name="connsiteX6" fmla="*/ 2571750 w 2571750"/>
                <a:gd name="connsiteY6" fmla="*/ 0 h 245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1750" h="2451100">
                  <a:moveTo>
                    <a:pt x="0" y="2451100"/>
                  </a:moveTo>
                  <a:lnTo>
                    <a:pt x="1670050" y="781050"/>
                  </a:lnTo>
                  <a:lnTo>
                    <a:pt x="2120900" y="781050"/>
                  </a:lnTo>
                  <a:lnTo>
                    <a:pt x="2324100" y="577850"/>
                  </a:lnTo>
                  <a:lnTo>
                    <a:pt x="2324100" y="438150"/>
                  </a:lnTo>
                  <a:lnTo>
                    <a:pt x="2571750" y="190500"/>
                  </a:lnTo>
                  <a:lnTo>
                    <a:pt x="25717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7" name="Freeform 446"/>
            <p:cNvSpPr/>
            <p:nvPr/>
          </p:nvSpPr>
          <p:spPr>
            <a:xfrm>
              <a:off x="2328319" y="2537759"/>
              <a:ext cx="2578769" cy="1294598"/>
            </a:xfrm>
            <a:custGeom>
              <a:avLst/>
              <a:gdLst>
                <a:gd name="connsiteX0" fmla="*/ 0 w 2685449"/>
                <a:gd name="connsiteY0" fmla="*/ 0 h 1751798"/>
                <a:gd name="connsiteX1" fmla="*/ 0 w 2685449"/>
                <a:gd name="connsiteY1" fmla="*/ 365760 h 1751798"/>
                <a:gd name="connsiteX2" fmla="*/ 413886 w 2685449"/>
                <a:gd name="connsiteY2" fmla="*/ 779646 h 1751798"/>
                <a:gd name="connsiteX3" fmla="*/ 1713297 w 2685449"/>
                <a:gd name="connsiteY3" fmla="*/ 779646 h 1751798"/>
                <a:gd name="connsiteX4" fmla="*/ 2685449 w 2685449"/>
                <a:gd name="connsiteY4" fmla="*/ 1751798 h 1751798"/>
                <a:gd name="connsiteX0" fmla="*/ 0 w 2685449"/>
                <a:gd name="connsiteY0" fmla="*/ 0 h 1386038"/>
                <a:gd name="connsiteX1" fmla="*/ 413886 w 2685449"/>
                <a:gd name="connsiteY1" fmla="*/ 413886 h 1386038"/>
                <a:gd name="connsiteX2" fmla="*/ 1713297 w 2685449"/>
                <a:gd name="connsiteY2" fmla="*/ 413886 h 1386038"/>
                <a:gd name="connsiteX3" fmla="*/ 2685449 w 2685449"/>
                <a:gd name="connsiteY3" fmla="*/ 1386038 h 1386038"/>
                <a:gd name="connsiteX0" fmla="*/ 0 w 2578769"/>
                <a:gd name="connsiteY0" fmla="*/ 0 h 1294598"/>
                <a:gd name="connsiteX1" fmla="*/ 307206 w 2578769"/>
                <a:gd name="connsiteY1" fmla="*/ 322446 h 1294598"/>
                <a:gd name="connsiteX2" fmla="*/ 1606617 w 2578769"/>
                <a:gd name="connsiteY2" fmla="*/ 322446 h 1294598"/>
                <a:gd name="connsiteX3" fmla="*/ 2578769 w 2578769"/>
                <a:gd name="connsiteY3" fmla="*/ 1294598 h 1294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8769" h="1294598">
                  <a:moveTo>
                    <a:pt x="0" y="0"/>
                  </a:moveTo>
                  <a:lnTo>
                    <a:pt x="307206" y="322446"/>
                  </a:lnTo>
                  <a:lnTo>
                    <a:pt x="1606617" y="322446"/>
                  </a:lnTo>
                  <a:lnTo>
                    <a:pt x="2578769" y="129459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8" name="Freeform 447"/>
            <p:cNvSpPr/>
            <p:nvPr/>
          </p:nvSpPr>
          <p:spPr>
            <a:xfrm>
              <a:off x="2408720" y="127000"/>
              <a:ext cx="3231668" cy="1386840"/>
            </a:xfrm>
            <a:custGeom>
              <a:avLst/>
              <a:gdLst>
                <a:gd name="connsiteX0" fmla="*/ 0 w 3596640"/>
                <a:gd name="connsiteY0" fmla="*/ 228600 h 1386840"/>
                <a:gd name="connsiteX1" fmla="*/ 0 w 3596640"/>
                <a:gd name="connsiteY1" fmla="*/ 0 h 1386840"/>
                <a:gd name="connsiteX2" fmla="*/ 2369820 w 3596640"/>
                <a:gd name="connsiteY2" fmla="*/ 0 h 1386840"/>
                <a:gd name="connsiteX3" fmla="*/ 2674620 w 3596640"/>
                <a:gd name="connsiteY3" fmla="*/ 304800 h 1386840"/>
                <a:gd name="connsiteX4" fmla="*/ 2674620 w 3596640"/>
                <a:gd name="connsiteY4" fmla="*/ 1295400 h 1386840"/>
                <a:gd name="connsiteX5" fmla="*/ 2766060 w 3596640"/>
                <a:gd name="connsiteY5" fmla="*/ 1386840 h 1386840"/>
                <a:gd name="connsiteX6" fmla="*/ 3596640 w 3596640"/>
                <a:gd name="connsiteY6" fmla="*/ 1386840 h 1386840"/>
                <a:gd name="connsiteX0" fmla="*/ 0 w 3596640"/>
                <a:gd name="connsiteY0" fmla="*/ 0 h 1386840"/>
                <a:gd name="connsiteX1" fmla="*/ 2369820 w 3596640"/>
                <a:gd name="connsiteY1" fmla="*/ 0 h 1386840"/>
                <a:gd name="connsiteX2" fmla="*/ 2674620 w 3596640"/>
                <a:gd name="connsiteY2" fmla="*/ 304800 h 1386840"/>
                <a:gd name="connsiteX3" fmla="*/ 2674620 w 3596640"/>
                <a:gd name="connsiteY3" fmla="*/ 1295400 h 1386840"/>
                <a:gd name="connsiteX4" fmla="*/ 2766060 w 3596640"/>
                <a:gd name="connsiteY4" fmla="*/ 1386840 h 1386840"/>
                <a:gd name="connsiteX5" fmla="*/ 3596640 w 3596640"/>
                <a:gd name="connsiteY5" fmla="*/ 1386840 h 138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96640" h="1386840">
                  <a:moveTo>
                    <a:pt x="0" y="0"/>
                  </a:moveTo>
                  <a:lnTo>
                    <a:pt x="2369820" y="0"/>
                  </a:lnTo>
                  <a:lnTo>
                    <a:pt x="2674620" y="304800"/>
                  </a:lnTo>
                  <a:lnTo>
                    <a:pt x="2674620" y="1295400"/>
                  </a:lnTo>
                  <a:lnTo>
                    <a:pt x="2766060" y="1386840"/>
                  </a:lnTo>
                  <a:lnTo>
                    <a:pt x="3596640" y="13868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9" name="Freeform 448"/>
            <p:cNvSpPr/>
            <p:nvPr/>
          </p:nvSpPr>
          <p:spPr>
            <a:xfrm>
              <a:off x="2425406" y="2179638"/>
              <a:ext cx="2510132" cy="342900"/>
            </a:xfrm>
            <a:custGeom>
              <a:avLst/>
              <a:gdLst>
                <a:gd name="connsiteX0" fmla="*/ 0 w 2686050"/>
                <a:gd name="connsiteY0" fmla="*/ 0 h 342900"/>
                <a:gd name="connsiteX1" fmla="*/ 1985963 w 2686050"/>
                <a:gd name="connsiteY1" fmla="*/ 0 h 342900"/>
                <a:gd name="connsiteX2" fmla="*/ 2114550 w 2686050"/>
                <a:gd name="connsiteY2" fmla="*/ 128587 h 342900"/>
                <a:gd name="connsiteX3" fmla="*/ 2309813 w 2686050"/>
                <a:gd name="connsiteY3" fmla="*/ 128587 h 342900"/>
                <a:gd name="connsiteX4" fmla="*/ 2419350 w 2686050"/>
                <a:gd name="connsiteY4" fmla="*/ 238124 h 342900"/>
                <a:gd name="connsiteX5" fmla="*/ 2686050 w 2686050"/>
                <a:gd name="connsiteY5" fmla="*/ 238124 h 342900"/>
                <a:gd name="connsiteX6" fmla="*/ 2686050 w 2686050"/>
                <a:gd name="connsiteY6" fmla="*/ 34290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86050" h="342900">
                  <a:moveTo>
                    <a:pt x="0" y="0"/>
                  </a:moveTo>
                  <a:lnTo>
                    <a:pt x="1985963" y="0"/>
                  </a:lnTo>
                  <a:lnTo>
                    <a:pt x="2114550" y="128587"/>
                  </a:lnTo>
                  <a:lnTo>
                    <a:pt x="2309813" y="128587"/>
                  </a:lnTo>
                  <a:lnTo>
                    <a:pt x="2419350" y="238124"/>
                  </a:lnTo>
                  <a:lnTo>
                    <a:pt x="2686050" y="238124"/>
                  </a:lnTo>
                  <a:lnTo>
                    <a:pt x="2686050" y="342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0" name="Freeform 449"/>
            <p:cNvSpPr/>
            <p:nvPr/>
          </p:nvSpPr>
          <p:spPr>
            <a:xfrm>
              <a:off x="10223617" y="599841"/>
              <a:ext cx="1963554" cy="1617044"/>
            </a:xfrm>
            <a:custGeom>
              <a:avLst/>
              <a:gdLst>
                <a:gd name="connsiteX0" fmla="*/ 0 w 1963554"/>
                <a:gd name="connsiteY0" fmla="*/ 1617044 h 1617044"/>
                <a:gd name="connsiteX1" fmla="*/ 346510 w 1963554"/>
                <a:gd name="connsiteY1" fmla="*/ 1617044 h 1617044"/>
                <a:gd name="connsiteX2" fmla="*/ 1963554 w 1963554"/>
                <a:gd name="connsiteY2" fmla="*/ 0 h 1617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63554" h="1617044">
                  <a:moveTo>
                    <a:pt x="0" y="1617044"/>
                  </a:moveTo>
                  <a:lnTo>
                    <a:pt x="346510" y="1617044"/>
                  </a:lnTo>
                  <a:lnTo>
                    <a:pt x="1963554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1" name="Freeform 450"/>
            <p:cNvSpPr/>
            <p:nvPr/>
          </p:nvSpPr>
          <p:spPr>
            <a:xfrm>
              <a:off x="10185117" y="128203"/>
              <a:ext cx="2002055" cy="1674796"/>
            </a:xfrm>
            <a:custGeom>
              <a:avLst/>
              <a:gdLst>
                <a:gd name="connsiteX0" fmla="*/ 2002055 w 2002055"/>
                <a:gd name="connsiteY0" fmla="*/ 0 h 1674796"/>
                <a:gd name="connsiteX1" fmla="*/ 471638 w 2002055"/>
                <a:gd name="connsiteY1" fmla="*/ 1530417 h 1674796"/>
                <a:gd name="connsiteX2" fmla="*/ 317634 w 2002055"/>
                <a:gd name="connsiteY2" fmla="*/ 1530417 h 1674796"/>
                <a:gd name="connsiteX3" fmla="*/ 250257 w 2002055"/>
                <a:gd name="connsiteY3" fmla="*/ 1597794 h 1674796"/>
                <a:gd name="connsiteX4" fmla="*/ 173255 w 2002055"/>
                <a:gd name="connsiteY4" fmla="*/ 1674796 h 1674796"/>
                <a:gd name="connsiteX5" fmla="*/ 0 w 2002055"/>
                <a:gd name="connsiteY5" fmla="*/ 1674796 h 1674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02055" h="1674796">
                  <a:moveTo>
                    <a:pt x="2002055" y="0"/>
                  </a:moveTo>
                  <a:lnTo>
                    <a:pt x="471638" y="1530417"/>
                  </a:lnTo>
                  <a:lnTo>
                    <a:pt x="317634" y="1530417"/>
                  </a:lnTo>
                  <a:lnTo>
                    <a:pt x="250257" y="1597794"/>
                  </a:lnTo>
                  <a:lnTo>
                    <a:pt x="173255" y="1674796"/>
                  </a:lnTo>
                  <a:lnTo>
                    <a:pt x="0" y="1674796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2" name="Freeform 451"/>
            <p:cNvSpPr/>
            <p:nvPr/>
          </p:nvSpPr>
          <p:spPr>
            <a:xfrm>
              <a:off x="9780856" y="1273610"/>
              <a:ext cx="2425567" cy="1665171"/>
            </a:xfrm>
            <a:custGeom>
              <a:avLst/>
              <a:gdLst>
                <a:gd name="connsiteX0" fmla="*/ 0 w 2425567"/>
                <a:gd name="connsiteY0" fmla="*/ 1376413 h 1665171"/>
                <a:gd name="connsiteX1" fmla="*/ 0 w 2425567"/>
                <a:gd name="connsiteY1" fmla="*/ 1665171 h 1665171"/>
                <a:gd name="connsiteX2" fmla="*/ 394636 w 2425567"/>
                <a:gd name="connsiteY2" fmla="*/ 1665171 h 1665171"/>
                <a:gd name="connsiteX3" fmla="*/ 673769 w 2425567"/>
                <a:gd name="connsiteY3" fmla="*/ 1386038 h 1665171"/>
                <a:gd name="connsiteX4" fmla="*/ 2059807 w 2425567"/>
                <a:gd name="connsiteY4" fmla="*/ 0 h 1665171"/>
                <a:gd name="connsiteX5" fmla="*/ 2425567 w 2425567"/>
                <a:gd name="connsiteY5" fmla="*/ 0 h 1665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25567" h="1665171">
                  <a:moveTo>
                    <a:pt x="0" y="1376413"/>
                  </a:moveTo>
                  <a:lnTo>
                    <a:pt x="0" y="1665171"/>
                  </a:lnTo>
                  <a:lnTo>
                    <a:pt x="394636" y="1665171"/>
                  </a:lnTo>
                  <a:lnTo>
                    <a:pt x="673769" y="1386038"/>
                  </a:lnTo>
                  <a:lnTo>
                    <a:pt x="2059807" y="0"/>
                  </a:lnTo>
                  <a:lnTo>
                    <a:pt x="2425567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3" name="Freeform 452"/>
            <p:cNvSpPr/>
            <p:nvPr/>
          </p:nvSpPr>
          <p:spPr>
            <a:xfrm>
              <a:off x="6421639" y="2669273"/>
              <a:ext cx="2916454" cy="4215864"/>
            </a:xfrm>
            <a:custGeom>
              <a:avLst/>
              <a:gdLst>
                <a:gd name="connsiteX0" fmla="*/ 2916454 w 2916454"/>
                <a:gd name="connsiteY0" fmla="*/ 0 h 4215864"/>
                <a:gd name="connsiteX1" fmla="*/ 2916454 w 2916454"/>
                <a:gd name="connsiteY1" fmla="*/ 298383 h 4215864"/>
                <a:gd name="connsiteX2" fmla="*/ 2550694 w 2916454"/>
                <a:gd name="connsiteY2" fmla="*/ 664143 h 4215864"/>
                <a:gd name="connsiteX3" fmla="*/ 2550694 w 2916454"/>
                <a:gd name="connsiteY3" fmla="*/ 1973179 h 4215864"/>
                <a:gd name="connsiteX4" fmla="*/ 2358189 w 2916454"/>
                <a:gd name="connsiteY4" fmla="*/ 2165684 h 4215864"/>
                <a:gd name="connsiteX5" fmla="*/ 2358189 w 2916454"/>
                <a:gd name="connsiteY5" fmla="*/ 2319688 h 4215864"/>
                <a:gd name="connsiteX6" fmla="*/ 2127183 w 2916454"/>
                <a:gd name="connsiteY6" fmla="*/ 2550694 h 4215864"/>
                <a:gd name="connsiteX7" fmla="*/ 1665170 w 2916454"/>
                <a:gd name="connsiteY7" fmla="*/ 2550694 h 4215864"/>
                <a:gd name="connsiteX8" fmla="*/ 0 w 2916454"/>
                <a:gd name="connsiteY8" fmla="*/ 4215864 h 421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16454" h="4215864">
                  <a:moveTo>
                    <a:pt x="2916454" y="0"/>
                  </a:moveTo>
                  <a:lnTo>
                    <a:pt x="2916454" y="298383"/>
                  </a:lnTo>
                  <a:lnTo>
                    <a:pt x="2550694" y="664143"/>
                  </a:lnTo>
                  <a:lnTo>
                    <a:pt x="2550694" y="1973179"/>
                  </a:lnTo>
                  <a:lnTo>
                    <a:pt x="2358189" y="2165684"/>
                  </a:lnTo>
                  <a:lnTo>
                    <a:pt x="2358189" y="2319688"/>
                  </a:lnTo>
                  <a:lnTo>
                    <a:pt x="2127183" y="2550694"/>
                  </a:lnTo>
                  <a:lnTo>
                    <a:pt x="1665170" y="2550694"/>
                  </a:lnTo>
                  <a:lnTo>
                    <a:pt x="0" y="4215864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4" name="Freeform 453"/>
            <p:cNvSpPr/>
            <p:nvPr/>
          </p:nvSpPr>
          <p:spPr>
            <a:xfrm>
              <a:off x="8750952" y="2650023"/>
              <a:ext cx="134754" cy="2021305"/>
            </a:xfrm>
            <a:custGeom>
              <a:avLst/>
              <a:gdLst>
                <a:gd name="connsiteX0" fmla="*/ 134754 w 134754"/>
                <a:gd name="connsiteY0" fmla="*/ 0 h 2021305"/>
                <a:gd name="connsiteX1" fmla="*/ 134754 w 134754"/>
                <a:gd name="connsiteY1" fmla="*/ 567891 h 2021305"/>
                <a:gd name="connsiteX2" fmla="*/ 0 w 134754"/>
                <a:gd name="connsiteY2" fmla="*/ 702645 h 2021305"/>
                <a:gd name="connsiteX3" fmla="*/ 0 w 134754"/>
                <a:gd name="connsiteY3" fmla="*/ 2021305 h 2021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754" h="2021305">
                  <a:moveTo>
                    <a:pt x="134754" y="0"/>
                  </a:moveTo>
                  <a:lnTo>
                    <a:pt x="134754" y="567891"/>
                  </a:lnTo>
                  <a:lnTo>
                    <a:pt x="0" y="702645"/>
                  </a:lnTo>
                  <a:lnTo>
                    <a:pt x="0" y="202130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5" name="Freeform 454"/>
            <p:cNvSpPr/>
            <p:nvPr/>
          </p:nvSpPr>
          <p:spPr>
            <a:xfrm>
              <a:off x="2263776" y="1274763"/>
              <a:ext cx="723900" cy="176212"/>
            </a:xfrm>
            <a:custGeom>
              <a:avLst/>
              <a:gdLst>
                <a:gd name="connsiteX0" fmla="*/ 0 w 723900"/>
                <a:gd name="connsiteY0" fmla="*/ 176212 h 176212"/>
                <a:gd name="connsiteX1" fmla="*/ 723900 w 723900"/>
                <a:gd name="connsiteY1" fmla="*/ 176212 h 176212"/>
                <a:gd name="connsiteX2" fmla="*/ 723900 w 723900"/>
                <a:gd name="connsiteY2" fmla="*/ 0 h 17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900" h="176212">
                  <a:moveTo>
                    <a:pt x="0" y="176212"/>
                  </a:moveTo>
                  <a:lnTo>
                    <a:pt x="723900" y="176212"/>
                  </a:lnTo>
                  <a:lnTo>
                    <a:pt x="7239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6" name="Freeform 455"/>
            <p:cNvSpPr/>
            <p:nvPr/>
          </p:nvSpPr>
          <p:spPr>
            <a:xfrm>
              <a:off x="2296395" y="1284288"/>
              <a:ext cx="938213" cy="214312"/>
            </a:xfrm>
            <a:custGeom>
              <a:avLst/>
              <a:gdLst>
                <a:gd name="connsiteX0" fmla="*/ 0 w 938213"/>
                <a:gd name="connsiteY0" fmla="*/ 214312 h 214312"/>
                <a:gd name="connsiteX1" fmla="*/ 938213 w 938213"/>
                <a:gd name="connsiteY1" fmla="*/ 214312 h 214312"/>
                <a:gd name="connsiteX2" fmla="*/ 938213 w 938213"/>
                <a:gd name="connsiteY2" fmla="*/ 0 h 214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8213" h="214312">
                  <a:moveTo>
                    <a:pt x="0" y="214312"/>
                  </a:moveTo>
                  <a:lnTo>
                    <a:pt x="938213" y="214312"/>
                  </a:lnTo>
                  <a:lnTo>
                    <a:pt x="938213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7" name="Freeform 456"/>
            <p:cNvSpPr/>
            <p:nvPr/>
          </p:nvSpPr>
          <p:spPr>
            <a:xfrm>
              <a:off x="3402014" y="1112838"/>
              <a:ext cx="671513" cy="366712"/>
            </a:xfrm>
            <a:custGeom>
              <a:avLst/>
              <a:gdLst>
                <a:gd name="connsiteX0" fmla="*/ 671513 w 671513"/>
                <a:gd name="connsiteY0" fmla="*/ 0 h 366712"/>
                <a:gd name="connsiteX1" fmla="*/ 481013 w 671513"/>
                <a:gd name="connsiteY1" fmla="*/ 190500 h 366712"/>
                <a:gd name="connsiteX2" fmla="*/ 481013 w 671513"/>
                <a:gd name="connsiteY2" fmla="*/ 319087 h 366712"/>
                <a:gd name="connsiteX3" fmla="*/ 433388 w 671513"/>
                <a:gd name="connsiteY3" fmla="*/ 366712 h 366712"/>
                <a:gd name="connsiteX4" fmla="*/ 0 w 671513"/>
                <a:gd name="connsiteY4" fmla="*/ 366712 h 366712"/>
                <a:gd name="connsiteX5" fmla="*/ 0 w 671513"/>
                <a:gd name="connsiteY5" fmla="*/ 171450 h 36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1513" h="366712">
                  <a:moveTo>
                    <a:pt x="671513" y="0"/>
                  </a:moveTo>
                  <a:lnTo>
                    <a:pt x="481013" y="190500"/>
                  </a:lnTo>
                  <a:lnTo>
                    <a:pt x="481013" y="319087"/>
                  </a:lnTo>
                  <a:lnTo>
                    <a:pt x="433388" y="366712"/>
                  </a:lnTo>
                  <a:lnTo>
                    <a:pt x="0" y="366712"/>
                  </a:lnTo>
                  <a:lnTo>
                    <a:pt x="0" y="1714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8" name="Freeform 457"/>
            <p:cNvSpPr/>
            <p:nvPr/>
          </p:nvSpPr>
          <p:spPr>
            <a:xfrm>
              <a:off x="8240814" y="2226511"/>
              <a:ext cx="433137" cy="1097280"/>
            </a:xfrm>
            <a:custGeom>
              <a:avLst/>
              <a:gdLst>
                <a:gd name="connsiteX0" fmla="*/ 221381 w 433137"/>
                <a:gd name="connsiteY0" fmla="*/ 0 h 1097280"/>
                <a:gd name="connsiteX1" fmla="*/ 86628 w 433137"/>
                <a:gd name="connsiteY1" fmla="*/ 0 h 1097280"/>
                <a:gd name="connsiteX2" fmla="*/ 86628 w 433137"/>
                <a:gd name="connsiteY2" fmla="*/ 182880 h 1097280"/>
                <a:gd name="connsiteX3" fmla="*/ 433137 w 433137"/>
                <a:gd name="connsiteY3" fmla="*/ 529389 h 1097280"/>
                <a:gd name="connsiteX4" fmla="*/ 433137 w 433137"/>
                <a:gd name="connsiteY4" fmla="*/ 1097280 h 1097280"/>
                <a:gd name="connsiteX5" fmla="*/ 0 w 433137"/>
                <a:gd name="connsiteY5" fmla="*/ 1097280 h 109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3137" h="1097280">
                  <a:moveTo>
                    <a:pt x="221381" y="0"/>
                  </a:moveTo>
                  <a:lnTo>
                    <a:pt x="86628" y="0"/>
                  </a:lnTo>
                  <a:lnTo>
                    <a:pt x="86628" y="182880"/>
                  </a:lnTo>
                  <a:lnTo>
                    <a:pt x="433137" y="529389"/>
                  </a:lnTo>
                  <a:lnTo>
                    <a:pt x="433137" y="1097280"/>
                  </a:lnTo>
                  <a:lnTo>
                    <a:pt x="0" y="109728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9" name="Freeform 458"/>
            <p:cNvSpPr/>
            <p:nvPr/>
          </p:nvSpPr>
          <p:spPr>
            <a:xfrm>
              <a:off x="8221563" y="3651049"/>
              <a:ext cx="385010" cy="1078030"/>
            </a:xfrm>
            <a:custGeom>
              <a:avLst/>
              <a:gdLst>
                <a:gd name="connsiteX0" fmla="*/ 0 w 385010"/>
                <a:gd name="connsiteY0" fmla="*/ 0 h 1078030"/>
                <a:gd name="connsiteX1" fmla="*/ 385010 w 385010"/>
                <a:gd name="connsiteY1" fmla="*/ 0 h 1078030"/>
                <a:gd name="connsiteX2" fmla="*/ 385010 w 385010"/>
                <a:gd name="connsiteY2" fmla="*/ 1078030 h 107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5010" h="1078030">
                  <a:moveTo>
                    <a:pt x="0" y="0"/>
                  </a:moveTo>
                  <a:lnTo>
                    <a:pt x="385010" y="0"/>
                  </a:lnTo>
                  <a:lnTo>
                    <a:pt x="385010" y="107803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0" name="Freeform 459"/>
            <p:cNvSpPr/>
            <p:nvPr/>
          </p:nvSpPr>
          <p:spPr>
            <a:xfrm>
              <a:off x="8240814" y="3959059"/>
              <a:ext cx="231007" cy="0"/>
            </a:xfrm>
            <a:custGeom>
              <a:avLst/>
              <a:gdLst>
                <a:gd name="connsiteX0" fmla="*/ 0 w 231007"/>
                <a:gd name="connsiteY0" fmla="*/ 0 h 0"/>
                <a:gd name="connsiteX1" fmla="*/ 231007 w 23100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007">
                  <a:moveTo>
                    <a:pt x="0" y="0"/>
                  </a:moveTo>
                  <a:lnTo>
                    <a:pt x="231007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1" name="Freeform 460"/>
            <p:cNvSpPr/>
            <p:nvPr/>
          </p:nvSpPr>
          <p:spPr>
            <a:xfrm>
              <a:off x="611188" y="3644900"/>
              <a:ext cx="6426200" cy="3238500"/>
            </a:xfrm>
            <a:custGeom>
              <a:avLst/>
              <a:gdLst>
                <a:gd name="connsiteX0" fmla="*/ 0 w 6451600"/>
                <a:gd name="connsiteY0" fmla="*/ 3175000 h 3175000"/>
                <a:gd name="connsiteX1" fmla="*/ 419100 w 6451600"/>
                <a:gd name="connsiteY1" fmla="*/ 2755900 h 3175000"/>
                <a:gd name="connsiteX2" fmla="*/ 5778500 w 6451600"/>
                <a:gd name="connsiteY2" fmla="*/ 2755900 h 3175000"/>
                <a:gd name="connsiteX3" fmla="*/ 6070600 w 6451600"/>
                <a:gd name="connsiteY3" fmla="*/ 2463800 h 3175000"/>
                <a:gd name="connsiteX4" fmla="*/ 6070600 w 6451600"/>
                <a:gd name="connsiteY4" fmla="*/ 190500 h 3175000"/>
                <a:gd name="connsiteX5" fmla="*/ 6261100 w 6451600"/>
                <a:gd name="connsiteY5" fmla="*/ 0 h 3175000"/>
                <a:gd name="connsiteX6" fmla="*/ 6451600 w 6451600"/>
                <a:gd name="connsiteY6" fmla="*/ 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51600" h="3175000">
                  <a:moveTo>
                    <a:pt x="0" y="3175000"/>
                  </a:moveTo>
                  <a:lnTo>
                    <a:pt x="419100" y="2755900"/>
                  </a:lnTo>
                  <a:lnTo>
                    <a:pt x="5778500" y="2755900"/>
                  </a:lnTo>
                  <a:lnTo>
                    <a:pt x="6070600" y="2463800"/>
                  </a:lnTo>
                  <a:lnTo>
                    <a:pt x="6070600" y="190500"/>
                  </a:lnTo>
                  <a:lnTo>
                    <a:pt x="6261100" y="0"/>
                  </a:lnTo>
                  <a:lnTo>
                    <a:pt x="64516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2" name="Freeform 461"/>
            <p:cNvSpPr/>
            <p:nvPr/>
          </p:nvSpPr>
          <p:spPr>
            <a:xfrm>
              <a:off x="763588" y="3975100"/>
              <a:ext cx="6261100" cy="2895600"/>
            </a:xfrm>
            <a:custGeom>
              <a:avLst/>
              <a:gdLst>
                <a:gd name="connsiteX0" fmla="*/ 0 w 6311900"/>
                <a:gd name="connsiteY0" fmla="*/ 2857500 h 2857500"/>
                <a:gd name="connsiteX1" fmla="*/ 317500 w 6311900"/>
                <a:gd name="connsiteY1" fmla="*/ 2540000 h 2857500"/>
                <a:gd name="connsiteX2" fmla="*/ 5638800 w 6311900"/>
                <a:gd name="connsiteY2" fmla="*/ 2540000 h 2857500"/>
                <a:gd name="connsiteX3" fmla="*/ 5994400 w 6311900"/>
                <a:gd name="connsiteY3" fmla="*/ 2184400 h 2857500"/>
                <a:gd name="connsiteX4" fmla="*/ 5994400 w 6311900"/>
                <a:gd name="connsiteY4" fmla="*/ 0 h 2857500"/>
                <a:gd name="connsiteX5" fmla="*/ 6311900 w 6311900"/>
                <a:gd name="connsiteY5" fmla="*/ 0 h 285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11900" h="2857500">
                  <a:moveTo>
                    <a:pt x="0" y="2857500"/>
                  </a:moveTo>
                  <a:lnTo>
                    <a:pt x="317500" y="2540000"/>
                  </a:lnTo>
                  <a:lnTo>
                    <a:pt x="5638800" y="2540000"/>
                  </a:lnTo>
                  <a:lnTo>
                    <a:pt x="5994400" y="2184400"/>
                  </a:lnTo>
                  <a:lnTo>
                    <a:pt x="5994400" y="0"/>
                  </a:lnTo>
                  <a:lnTo>
                    <a:pt x="63119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3" name="Freeform 462"/>
            <p:cNvSpPr/>
            <p:nvPr/>
          </p:nvSpPr>
          <p:spPr>
            <a:xfrm>
              <a:off x="1068388" y="4318000"/>
              <a:ext cx="6896100" cy="2540000"/>
            </a:xfrm>
            <a:custGeom>
              <a:avLst/>
              <a:gdLst>
                <a:gd name="connsiteX0" fmla="*/ 0 w 6921500"/>
                <a:gd name="connsiteY0" fmla="*/ 2540000 h 2540000"/>
                <a:gd name="connsiteX1" fmla="*/ 139700 w 6921500"/>
                <a:gd name="connsiteY1" fmla="*/ 2400300 h 2540000"/>
                <a:gd name="connsiteX2" fmla="*/ 5295900 w 6921500"/>
                <a:gd name="connsiteY2" fmla="*/ 2400300 h 2540000"/>
                <a:gd name="connsiteX3" fmla="*/ 6921500 w 6921500"/>
                <a:gd name="connsiteY3" fmla="*/ 774700 h 2540000"/>
                <a:gd name="connsiteX4" fmla="*/ 6921500 w 6921500"/>
                <a:gd name="connsiteY4" fmla="*/ 0 h 25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1500" h="2540000">
                  <a:moveTo>
                    <a:pt x="0" y="2540000"/>
                  </a:moveTo>
                  <a:lnTo>
                    <a:pt x="139700" y="2400300"/>
                  </a:lnTo>
                  <a:lnTo>
                    <a:pt x="5295900" y="2400300"/>
                  </a:lnTo>
                  <a:lnTo>
                    <a:pt x="6921500" y="774700"/>
                  </a:lnTo>
                  <a:lnTo>
                    <a:pt x="69215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4" name="Freeform 463"/>
            <p:cNvSpPr/>
            <p:nvPr/>
          </p:nvSpPr>
          <p:spPr>
            <a:xfrm>
              <a:off x="6923088" y="4241800"/>
              <a:ext cx="723900" cy="1651000"/>
            </a:xfrm>
            <a:custGeom>
              <a:avLst/>
              <a:gdLst>
                <a:gd name="connsiteX0" fmla="*/ 723900 w 723900"/>
                <a:gd name="connsiteY0" fmla="*/ 0 h 1651000"/>
                <a:gd name="connsiteX1" fmla="*/ 723900 w 723900"/>
                <a:gd name="connsiteY1" fmla="*/ 927100 h 1651000"/>
                <a:gd name="connsiteX2" fmla="*/ 0 w 723900"/>
                <a:gd name="connsiteY2" fmla="*/ 1651000 h 165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900" h="1651000">
                  <a:moveTo>
                    <a:pt x="723900" y="0"/>
                  </a:moveTo>
                  <a:lnTo>
                    <a:pt x="723900" y="927100"/>
                  </a:lnTo>
                  <a:lnTo>
                    <a:pt x="0" y="16510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5" name="Freeform 464"/>
            <p:cNvSpPr/>
            <p:nvPr/>
          </p:nvSpPr>
          <p:spPr>
            <a:xfrm>
              <a:off x="7024688" y="4241800"/>
              <a:ext cx="330200" cy="1181100"/>
            </a:xfrm>
            <a:custGeom>
              <a:avLst/>
              <a:gdLst>
                <a:gd name="connsiteX0" fmla="*/ 330200 w 330200"/>
                <a:gd name="connsiteY0" fmla="*/ 0 h 1181100"/>
                <a:gd name="connsiteX1" fmla="*/ 330200 w 330200"/>
                <a:gd name="connsiteY1" fmla="*/ 292100 h 1181100"/>
                <a:gd name="connsiteX2" fmla="*/ 0 w 330200"/>
                <a:gd name="connsiteY2" fmla="*/ 622300 h 1181100"/>
                <a:gd name="connsiteX3" fmla="*/ 0 w 330200"/>
                <a:gd name="connsiteY3" fmla="*/ 1181100 h 118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200" h="1181100">
                  <a:moveTo>
                    <a:pt x="330200" y="0"/>
                  </a:moveTo>
                  <a:lnTo>
                    <a:pt x="330200" y="292100"/>
                  </a:lnTo>
                  <a:lnTo>
                    <a:pt x="0" y="622300"/>
                  </a:lnTo>
                  <a:lnTo>
                    <a:pt x="0" y="11811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6" name="Freeform 465"/>
            <p:cNvSpPr/>
            <p:nvPr/>
          </p:nvSpPr>
          <p:spPr>
            <a:xfrm>
              <a:off x="6797024" y="2274638"/>
              <a:ext cx="856648" cy="798897"/>
            </a:xfrm>
            <a:custGeom>
              <a:avLst/>
              <a:gdLst>
                <a:gd name="connsiteX0" fmla="*/ 0 w 856648"/>
                <a:gd name="connsiteY0" fmla="*/ 0 h 798897"/>
                <a:gd name="connsiteX1" fmla="*/ 606391 w 856648"/>
                <a:gd name="connsiteY1" fmla="*/ 0 h 798897"/>
                <a:gd name="connsiteX2" fmla="*/ 856648 w 856648"/>
                <a:gd name="connsiteY2" fmla="*/ 250257 h 798897"/>
                <a:gd name="connsiteX3" fmla="*/ 856648 w 856648"/>
                <a:gd name="connsiteY3" fmla="*/ 798897 h 798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6648" h="798897">
                  <a:moveTo>
                    <a:pt x="0" y="0"/>
                  </a:moveTo>
                  <a:lnTo>
                    <a:pt x="606391" y="0"/>
                  </a:lnTo>
                  <a:lnTo>
                    <a:pt x="856648" y="250257"/>
                  </a:lnTo>
                  <a:lnTo>
                    <a:pt x="856648" y="79889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7" name="Freeform 466"/>
            <p:cNvSpPr/>
            <p:nvPr/>
          </p:nvSpPr>
          <p:spPr>
            <a:xfrm>
              <a:off x="6797025" y="2120633"/>
              <a:ext cx="1135781" cy="914400"/>
            </a:xfrm>
            <a:custGeom>
              <a:avLst/>
              <a:gdLst>
                <a:gd name="connsiteX0" fmla="*/ 0 w 1126155"/>
                <a:gd name="connsiteY0" fmla="*/ 0 h 914400"/>
                <a:gd name="connsiteX1" fmla="*/ 664143 w 1126155"/>
                <a:gd name="connsiteY1" fmla="*/ 0 h 914400"/>
                <a:gd name="connsiteX2" fmla="*/ 1126155 w 1126155"/>
                <a:gd name="connsiteY2" fmla="*/ 462012 h 914400"/>
                <a:gd name="connsiteX3" fmla="*/ 1126155 w 1126155"/>
                <a:gd name="connsiteY3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6155" h="914400">
                  <a:moveTo>
                    <a:pt x="0" y="0"/>
                  </a:moveTo>
                  <a:lnTo>
                    <a:pt x="664143" y="0"/>
                  </a:lnTo>
                  <a:lnTo>
                    <a:pt x="1126155" y="462012"/>
                  </a:lnTo>
                  <a:lnTo>
                    <a:pt x="1126155" y="9144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8" name="Freeform 467"/>
            <p:cNvSpPr/>
            <p:nvPr/>
          </p:nvSpPr>
          <p:spPr>
            <a:xfrm>
              <a:off x="6787399" y="1976254"/>
              <a:ext cx="510138" cy="0"/>
            </a:xfrm>
            <a:custGeom>
              <a:avLst/>
              <a:gdLst>
                <a:gd name="connsiteX0" fmla="*/ 0 w 510138"/>
                <a:gd name="connsiteY0" fmla="*/ 0 h 0"/>
                <a:gd name="connsiteX1" fmla="*/ 510138 w 510138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0138">
                  <a:moveTo>
                    <a:pt x="0" y="0"/>
                  </a:moveTo>
                  <a:lnTo>
                    <a:pt x="510138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9" name="Freeform 468"/>
            <p:cNvSpPr/>
            <p:nvPr/>
          </p:nvSpPr>
          <p:spPr>
            <a:xfrm>
              <a:off x="9785668" y="706120"/>
              <a:ext cx="601980" cy="220980"/>
            </a:xfrm>
            <a:custGeom>
              <a:avLst/>
              <a:gdLst>
                <a:gd name="connsiteX0" fmla="*/ 601980 w 601980"/>
                <a:gd name="connsiteY0" fmla="*/ 0 h 220980"/>
                <a:gd name="connsiteX1" fmla="*/ 0 w 601980"/>
                <a:gd name="connsiteY1" fmla="*/ 0 h 220980"/>
                <a:gd name="connsiteX2" fmla="*/ 0 w 601980"/>
                <a:gd name="connsiteY2" fmla="*/ 220980 h 22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1980" h="220980">
                  <a:moveTo>
                    <a:pt x="601980" y="0"/>
                  </a:moveTo>
                  <a:lnTo>
                    <a:pt x="0" y="0"/>
                  </a:lnTo>
                  <a:lnTo>
                    <a:pt x="0" y="22098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0" name="Freeform 469"/>
            <p:cNvSpPr/>
            <p:nvPr/>
          </p:nvSpPr>
          <p:spPr>
            <a:xfrm>
              <a:off x="9336088" y="523240"/>
              <a:ext cx="1059180" cy="419100"/>
            </a:xfrm>
            <a:custGeom>
              <a:avLst/>
              <a:gdLst>
                <a:gd name="connsiteX0" fmla="*/ 1005840 w 1005840"/>
                <a:gd name="connsiteY0" fmla="*/ 0 h 419100"/>
                <a:gd name="connsiteX1" fmla="*/ 312420 w 1005840"/>
                <a:gd name="connsiteY1" fmla="*/ 0 h 419100"/>
                <a:gd name="connsiteX2" fmla="*/ 190500 w 1005840"/>
                <a:gd name="connsiteY2" fmla="*/ 121920 h 419100"/>
                <a:gd name="connsiteX3" fmla="*/ 0 w 1005840"/>
                <a:gd name="connsiteY3" fmla="*/ 121920 h 419100"/>
                <a:gd name="connsiteX4" fmla="*/ 0 w 1005840"/>
                <a:gd name="connsiteY4" fmla="*/ 41910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5840" h="419100">
                  <a:moveTo>
                    <a:pt x="1005840" y="0"/>
                  </a:moveTo>
                  <a:lnTo>
                    <a:pt x="312420" y="0"/>
                  </a:lnTo>
                  <a:lnTo>
                    <a:pt x="190500" y="121920"/>
                  </a:lnTo>
                  <a:lnTo>
                    <a:pt x="0" y="121920"/>
                  </a:lnTo>
                  <a:lnTo>
                    <a:pt x="0" y="4191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1" name="Freeform 470"/>
            <p:cNvSpPr/>
            <p:nvPr/>
          </p:nvSpPr>
          <p:spPr>
            <a:xfrm>
              <a:off x="8932228" y="340360"/>
              <a:ext cx="1455420" cy="586740"/>
            </a:xfrm>
            <a:custGeom>
              <a:avLst/>
              <a:gdLst>
                <a:gd name="connsiteX0" fmla="*/ 1455420 w 1455420"/>
                <a:gd name="connsiteY0" fmla="*/ 0 h 586740"/>
                <a:gd name="connsiteX1" fmla="*/ 685800 w 1455420"/>
                <a:gd name="connsiteY1" fmla="*/ 0 h 586740"/>
                <a:gd name="connsiteX2" fmla="*/ 586740 w 1455420"/>
                <a:gd name="connsiteY2" fmla="*/ 99060 h 586740"/>
                <a:gd name="connsiteX3" fmla="*/ 175260 w 1455420"/>
                <a:gd name="connsiteY3" fmla="*/ 99060 h 586740"/>
                <a:gd name="connsiteX4" fmla="*/ 0 w 1455420"/>
                <a:gd name="connsiteY4" fmla="*/ 274320 h 586740"/>
                <a:gd name="connsiteX5" fmla="*/ 0 w 1455420"/>
                <a:gd name="connsiteY5" fmla="*/ 586740 h 586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5420" h="586740">
                  <a:moveTo>
                    <a:pt x="1455420" y="0"/>
                  </a:moveTo>
                  <a:lnTo>
                    <a:pt x="685800" y="0"/>
                  </a:lnTo>
                  <a:lnTo>
                    <a:pt x="586740" y="99060"/>
                  </a:lnTo>
                  <a:lnTo>
                    <a:pt x="175260" y="99060"/>
                  </a:lnTo>
                  <a:lnTo>
                    <a:pt x="0" y="274320"/>
                  </a:lnTo>
                  <a:lnTo>
                    <a:pt x="0" y="5867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2" name="Freeform 471"/>
            <p:cNvSpPr/>
            <p:nvPr/>
          </p:nvSpPr>
          <p:spPr>
            <a:xfrm>
              <a:off x="11081068" y="111760"/>
              <a:ext cx="708660" cy="243840"/>
            </a:xfrm>
            <a:custGeom>
              <a:avLst/>
              <a:gdLst>
                <a:gd name="connsiteX0" fmla="*/ 0 w 708660"/>
                <a:gd name="connsiteY0" fmla="*/ 243840 h 243840"/>
                <a:gd name="connsiteX1" fmla="*/ 464820 w 708660"/>
                <a:gd name="connsiteY1" fmla="*/ 243840 h 243840"/>
                <a:gd name="connsiteX2" fmla="*/ 708660 w 708660"/>
                <a:gd name="connsiteY2" fmla="*/ 0 h 24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8660" h="243840">
                  <a:moveTo>
                    <a:pt x="0" y="243840"/>
                  </a:moveTo>
                  <a:lnTo>
                    <a:pt x="464820" y="243840"/>
                  </a:lnTo>
                  <a:lnTo>
                    <a:pt x="70866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3" name="Freeform 472"/>
            <p:cNvSpPr/>
            <p:nvPr/>
          </p:nvSpPr>
          <p:spPr>
            <a:xfrm>
              <a:off x="11073448" y="523240"/>
              <a:ext cx="327660" cy="0"/>
            </a:xfrm>
            <a:custGeom>
              <a:avLst/>
              <a:gdLst>
                <a:gd name="connsiteX0" fmla="*/ 0 w 327660"/>
                <a:gd name="connsiteY0" fmla="*/ 0 h 0"/>
                <a:gd name="connsiteX1" fmla="*/ 327660 w 32766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7660">
                  <a:moveTo>
                    <a:pt x="0" y="0"/>
                  </a:moveTo>
                  <a:lnTo>
                    <a:pt x="32766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79" name="Group 478"/>
            <p:cNvGrpSpPr/>
            <p:nvPr/>
          </p:nvGrpSpPr>
          <p:grpSpPr>
            <a:xfrm>
              <a:off x="7011121" y="3018642"/>
              <a:ext cx="1243820" cy="1243814"/>
              <a:chOff x="7017864" y="3022334"/>
              <a:chExt cx="1243820" cy="1243814"/>
            </a:xfrm>
          </p:grpSpPr>
          <p:sp>
            <p:nvSpPr>
              <p:cNvPr id="785" name="Rounded Rectangle 5"/>
              <p:cNvSpPr/>
              <p:nvPr/>
            </p:nvSpPr>
            <p:spPr>
              <a:xfrm>
                <a:off x="7203873" y="3345744"/>
                <a:ext cx="871802" cy="596995"/>
              </a:xfrm>
              <a:custGeom>
                <a:avLst/>
                <a:gdLst/>
                <a:ahLst/>
                <a:cxnLst/>
                <a:rect l="l" t="t" r="r" b="b"/>
                <a:pathLst>
                  <a:path w="2103120" h="1440180">
                    <a:moveTo>
                      <a:pt x="108334" y="103348"/>
                    </a:moveTo>
                    <a:cubicBezTo>
                      <a:pt x="94006" y="103348"/>
                      <a:pt x="82391" y="114963"/>
                      <a:pt x="82391" y="129291"/>
                    </a:cubicBezTo>
                    <a:lnTo>
                      <a:pt x="82391" y="1284063"/>
                    </a:lnTo>
                    <a:cubicBezTo>
                      <a:pt x="82391" y="1298391"/>
                      <a:pt x="94006" y="1310006"/>
                      <a:pt x="108334" y="1310006"/>
                    </a:cubicBezTo>
                    <a:lnTo>
                      <a:pt x="1994786" y="1310006"/>
                    </a:lnTo>
                    <a:cubicBezTo>
                      <a:pt x="2009114" y="1310006"/>
                      <a:pt x="2020729" y="1298391"/>
                      <a:pt x="2020729" y="1284063"/>
                    </a:cubicBezTo>
                    <a:lnTo>
                      <a:pt x="2020729" y="129291"/>
                    </a:lnTo>
                    <a:cubicBezTo>
                      <a:pt x="2020729" y="114963"/>
                      <a:pt x="2009114" y="103348"/>
                      <a:pt x="1994786" y="103348"/>
                    </a:cubicBezTo>
                    <a:close/>
                    <a:moveTo>
                      <a:pt x="1051561" y="37624"/>
                    </a:moveTo>
                    <a:cubicBezTo>
                      <a:pt x="1038936" y="37624"/>
                      <a:pt x="1028701" y="47859"/>
                      <a:pt x="1028701" y="60484"/>
                    </a:cubicBezTo>
                    <a:cubicBezTo>
                      <a:pt x="1028701" y="73109"/>
                      <a:pt x="1038936" y="83344"/>
                      <a:pt x="1051561" y="83344"/>
                    </a:cubicBezTo>
                    <a:cubicBezTo>
                      <a:pt x="1064186" y="83344"/>
                      <a:pt x="1074421" y="73109"/>
                      <a:pt x="1074421" y="60484"/>
                    </a:cubicBezTo>
                    <a:cubicBezTo>
                      <a:pt x="1074421" y="47859"/>
                      <a:pt x="1064186" y="37624"/>
                      <a:pt x="1051561" y="37624"/>
                    </a:cubicBezTo>
                    <a:close/>
                    <a:moveTo>
                      <a:pt x="30964" y="0"/>
                    </a:moveTo>
                    <a:lnTo>
                      <a:pt x="2072156" y="0"/>
                    </a:lnTo>
                    <a:cubicBezTo>
                      <a:pt x="2089257" y="0"/>
                      <a:pt x="2103120" y="13863"/>
                      <a:pt x="2103120" y="30964"/>
                    </a:cubicBezTo>
                    <a:lnTo>
                      <a:pt x="2103120" y="1409216"/>
                    </a:lnTo>
                    <a:cubicBezTo>
                      <a:pt x="2103120" y="1426317"/>
                      <a:pt x="2089257" y="1440180"/>
                      <a:pt x="2072156" y="1440180"/>
                    </a:cubicBezTo>
                    <a:lnTo>
                      <a:pt x="30964" y="1440180"/>
                    </a:lnTo>
                    <a:cubicBezTo>
                      <a:pt x="13863" y="1440180"/>
                      <a:pt x="0" y="1426317"/>
                      <a:pt x="0" y="1409216"/>
                    </a:cubicBezTo>
                    <a:lnTo>
                      <a:pt x="0" y="30964"/>
                    </a:lnTo>
                    <a:cubicBezTo>
                      <a:pt x="0" y="13863"/>
                      <a:pt x="13863" y="0"/>
                      <a:pt x="30964" y="0"/>
                    </a:cubicBezTo>
                    <a:close/>
                  </a:path>
                </a:pathLst>
              </a:custGeom>
              <a:solidFill>
                <a:srgbClr val="80B7E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86" name="Group 785"/>
              <p:cNvGrpSpPr/>
              <p:nvPr/>
            </p:nvGrpSpPr>
            <p:grpSpPr>
              <a:xfrm>
                <a:off x="7017864" y="3022334"/>
                <a:ext cx="1243820" cy="1243814"/>
                <a:chOff x="7172539" y="1843152"/>
                <a:chExt cx="1465201" cy="1465198"/>
              </a:xfrm>
              <a:solidFill>
                <a:srgbClr val="1A3762"/>
              </a:solidFill>
            </p:grpSpPr>
            <p:sp>
              <p:nvSpPr>
                <p:cNvPr id="787" name="Rounded Rectangle 47"/>
                <p:cNvSpPr/>
                <p:nvPr/>
              </p:nvSpPr>
              <p:spPr>
                <a:xfrm rot="5400000">
                  <a:off x="7172541" y="1843150"/>
                  <a:ext cx="1465198" cy="14652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6166" h="4796165">
                      <a:moveTo>
                        <a:pt x="4535493" y="1516069"/>
                      </a:moveTo>
                      <a:lnTo>
                        <a:pt x="4535493" y="921709"/>
                      </a:lnTo>
                      <a:lnTo>
                        <a:pt x="4697104" y="921709"/>
                      </a:lnTo>
                      <a:cubicBezTo>
                        <a:pt x="4751814" y="921709"/>
                        <a:pt x="4796166" y="966061"/>
                        <a:pt x="4796166" y="1020771"/>
                      </a:cubicBezTo>
                      <a:lnTo>
                        <a:pt x="4796166" y="1417007"/>
                      </a:lnTo>
                      <a:cubicBezTo>
                        <a:pt x="4796166" y="1471717"/>
                        <a:pt x="4751814" y="1516069"/>
                        <a:pt x="4697104" y="1516069"/>
                      </a:cubicBezTo>
                      <a:close/>
                      <a:moveTo>
                        <a:pt x="4535493" y="2695264"/>
                      </a:moveTo>
                      <a:lnTo>
                        <a:pt x="4535493" y="2100904"/>
                      </a:lnTo>
                      <a:lnTo>
                        <a:pt x="4697104" y="2100904"/>
                      </a:lnTo>
                      <a:cubicBezTo>
                        <a:pt x="4751814" y="2100904"/>
                        <a:pt x="4796166" y="2145256"/>
                        <a:pt x="4796166" y="2199966"/>
                      </a:cubicBezTo>
                      <a:lnTo>
                        <a:pt x="4796166" y="2596202"/>
                      </a:lnTo>
                      <a:cubicBezTo>
                        <a:pt x="4796166" y="2650912"/>
                        <a:pt x="4751814" y="2695264"/>
                        <a:pt x="4697104" y="2695264"/>
                      </a:cubicBezTo>
                      <a:close/>
                      <a:moveTo>
                        <a:pt x="4535493" y="3874459"/>
                      </a:moveTo>
                      <a:lnTo>
                        <a:pt x="4535493" y="3280099"/>
                      </a:lnTo>
                      <a:lnTo>
                        <a:pt x="4697104" y="3280099"/>
                      </a:lnTo>
                      <a:cubicBezTo>
                        <a:pt x="4751814" y="3280099"/>
                        <a:pt x="4796166" y="3324451"/>
                        <a:pt x="4796166" y="3379161"/>
                      </a:cubicBezTo>
                      <a:lnTo>
                        <a:pt x="4796166" y="3775397"/>
                      </a:lnTo>
                      <a:cubicBezTo>
                        <a:pt x="4796166" y="3830107"/>
                        <a:pt x="4751814" y="3874459"/>
                        <a:pt x="4697104" y="3874459"/>
                      </a:cubicBezTo>
                      <a:close/>
                      <a:moveTo>
                        <a:pt x="3280098" y="260673"/>
                      </a:moveTo>
                      <a:lnTo>
                        <a:pt x="3280098" y="99062"/>
                      </a:lnTo>
                      <a:cubicBezTo>
                        <a:pt x="3280098" y="44352"/>
                        <a:pt x="3324450" y="0"/>
                        <a:pt x="3379160" y="0"/>
                      </a:cubicBezTo>
                      <a:lnTo>
                        <a:pt x="3775396" y="0"/>
                      </a:lnTo>
                      <a:cubicBezTo>
                        <a:pt x="3830106" y="0"/>
                        <a:pt x="3874458" y="44352"/>
                        <a:pt x="3874458" y="99062"/>
                      </a:cubicBezTo>
                      <a:lnTo>
                        <a:pt x="3874458" y="260673"/>
                      </a:lnTo>
                      <a:close/>
                      <a:moveTo>
                        <a:pt x="3280098" y="4697103"/>
                      </a:moveTo>
                      <a:lnTo>
                        <a:pt x="3280098" y="4535493"/>
                      </a:lnTo>
                      <a:lnTo>
                        <a:pt x="3874458" y="4535493"/>
                      </a:lnTo>
                      <a:lnTo>
                        <a:pt x="3874458" y="4697103"/>
                      </a:lnTo>
                      <a:cubicBezTo>
                        <a:pt x="3874458" y="4751813"/>
                        <a:pt x="3830106" y="4796165"/>
                        <a:pt x="3775396" y="4796165"/>
                      </a:cubicBezTo>
                      <a:lnTo>
                        <a:pt x="3379160" y="4796165"/>
                      </a:lnTo>
                      <a:cubicBezTo>
                        <a:pt x="3324450" y="4796165"/>
                        <a:pt x="3280098" y="4751813"/>
                        <a:pt x="3280098" y="4697103"/>
                      </a:cubicBezTo>
                      <a:close/>
                      <a:moveTo>
                        <a:pt x="2100903" y="260673"/>
                      </a:moveTo>
                      <a:lnTo>
                        <a:pt x="2100903" y="99062"/>
                      </a:lnTo>
                      <a:cubicBezTo>
                        <a:pt x="2100903" y="44352"/>
                        <a:pt x="2145255" y="0"/>
                        <a:pt x="2199965" y="0"/>
                      </a:cubicBezTo>
                      <a:lnTo>
                        <a:pt x="2596201" y="0"/>
                      </a:lnTo>
                      <a:cubicBezTo>
                        <a:pt x="2650911" y="0"/>
                        <a:pt x="2695263" y="44352"/>
                        <a:pt x="2695263" y="99062"/>
                      </a:cubicBezTo>
                      <a:lnTo>
                        <a:pt x="2695263" y="260673"/>
                      </a:lnTo>
                      <a:close/>
                      <a:moveTo>
                        <a:pt x="2100903" y="4697103"/>
                      </a:moveTo>
                      <a:lnTo>
                        <a:pt x="2100903" y="4535493"/>
                      </a:lnTo>
                      <a:lnTo>
                        <a:pt x="2695263" y="4535493"/>
                      </a:lnTo>
                      <a:lnTo>
                        <a:pt x="2695263" y="4697103"/>
                      </a:lnTo>
                      <a:cubicBezTo>
                        <a:pt x="2695263" y="4751813"/>
                        <a:pt x="2650911" y="4796165"/>
                        <a:pt x="2596201" y="4796165"/>
                      </a:cubicBezTo>
                      <a:lnTo>
                        <a:pt x="2199965" y="4796165"/>
                      </a:lnTo>
                      <a:cubicBezTo>
                        <a:pt x="2145255" y="4796165"/>
                        <a:pt x="2100903" y="4751813"/>
                        <a:pt x="2100903" y="4697103"/>
                      </a:cubicBezTo>
                      <a:close/>
                      <a:moveTo>
                        <a:pt x="921708" y="260673"/>
                      </a:moveTo>
                      <a:lnTo>
                        <a:pt x="921708" y="99062"/>
                      </a:lnTo>
                      <a:cubicBezTo>
                        <a:pt x="921708" y="44352"/>
                        <a:pt x="966060" y="0"/>
                        <a:pt x="1020770" y="0"/>
                      </a:cubicBezTo>
                      <a:lnTo>
                        <a:pt x="1417006" y="0"/>
                      </a:lnTo>
                      <a:cubicBezTo>
                        <a:pt x="1471716" y="0"/>
                        <a:pt x="1516068" y="44352"/>
                        <a:pt x="1516068" y="99062"/>
                      </a:cubicBezTo>
                      <a:lnTo>
                        <a:pt x="1516068" y="260673"/>
                      </a:lnTo>
                      <a:close/>
                      <a:moveTo>
                        <a:pt x="921708" y="4697103"/>
                      </a:moveTo>
                      <a:lnTo>
                        <a:pt x="921708" y="4535493"/>
                      </a:lnTo>
                      <a:lnTo>
                        <a:pt x="1516068" y="4535493"/>
                      </a:lnTo>
                      <a:lnTo>
                        <a:pt x="1516068" y="4697103"/>
                      </a:lnTo>
                      <a:cubicBezTo>
                        <a:pt x="1516068" y="4751813"/>
                        <a:pt x="1471716" y="4796165"/>
                        <a:pt x="1417006" y="4796165"/>
                      </a:cubicBezTo>
                      <a:lnTo>
                        <a:pt x="1020770" y="4796165"/>
                      </a:lnTo>
                      <a:cubicBezTo>
                        <a:pt x="966060" y="4796165"/>
                        <a:pt x="921708" y="4751813"/>
                        <a:pt x="921708" y="4697103"/>
                      </a:cubicBezTo>
                      <a:close/>
                      <a:moveTo>
                        <a:pt x="0" y="1417007"/>
                      </a:moveTo>
                      <a:lnTo>
                        <a:pt x="0" y="1020771"/>
                      </a:lnTo>
                      <a:cubicBezTo>
                        <a:pt x="0" y="966061"/>
                        <a:pt x="44352" y="921709"/>
                        <a:pt x="99062" y="921709"/>
                      </a:cubicBezTo>
                      <a:lnTo>
                        <a:pt x="260673" y="921709"/>
                      </a:lnTo>
                      <a:lnTo>
                        <a:pt x="260673" y="1516069"/>
                      </a:lnTo>
                      <a:lnTo>
                        <a:pt x="99062" y="1516069"/>
                      </a:lnTo>
                      <a:cubicBezTo>
                        <a:pt x="44352" y="1516069"/>
                        <a:pt x="0" y="1471717"/>
                        <a:pt x="0" y="1417007"/>
                      </a:cubicBezTo>
                      <a:close/>
                      <a:moveTo>
                        <a:pt x="0" y="2596202"/>
                      </a:moveTo>
                      <a:lnTo>
                        <a:pt x="0" y="2199966"/>
                      </a:lnTo>
                      <a:cubicBezTo>
                        <a:pt x="0" y="2145256"/>
                        <a:pt x="44352" y="2100904"/>
                        <a:pt x="99062" y="2100904"/>
                      </a:cubicBezTo>
                      <a:lnTo>
                        <a:pt x="260673" y="2100904"/>
                      </a:lnTo>
                      <a:lnTo>
                        <a:pt x="260673" y="2695264"/>
                      </a:lnTo>
                      <a:lnTo>
                        <a:pt x="99062" y="2695264"/>
                      </a:lnTo>
                      <a:cubicBezTo>
                        <a:pt x="44352" y="2695264"/>
                        <a:pt x="0" y="2650912"/>
                        <a:pt x="0" y="2596202"/>
                      </a:cubicBezTo>
                      <a:close/>
                      <a:moveTo>
                        <a:pt x="0" y="3775397"/>
                      </a:moveTo>
                      <a:lnTo>
                        <a:pt x="0" y="3379161"/>
                      </a:lnTo>
                      <a:cubicBezTo>
                        <a:pt x="0" y="3324451"/>
                        <a:pt x="44352" y="3280099"/>
                        <a:pt x="99062" y="3280099"/>
                      </a:cubicBezTo>
                      <a:lnTo>
                        <a:pt x="260673" y="3280099"/>
                      </a:lnTo>
                      <a:lnTo>
                        <a:pt x="260673" y="3874459"/>
                      </a:lnTo>
                      <a:lnTo>
                        <a:pt x="99062" y="3874459"/>
                      </a:lnTo>
                      <a:cubicBezTo>
                        <a:pt x="44352" y="3874459"/>
                        <a:pt x="0" y="3830107"/>
                        <a:pt x="0" y="3775397"/>
                      </a:cubicBez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8" name="Freeform 787"/>
                <p:cNvSpPr/>
                <p:nvPr/>
              </p:nvSpPr>
              <p:spPr>
                <a:xfrm>
                  <a:off x="7283599" y="1954211"/>
                  <a:ext cx="1243081" cy="1243078"/>
                </a:xfrm>
                <a:custGeom>
                  <a:avLst/>
                  <a:gdLst>
                    <a:gd name="connsiteX0" fmla="*/ 93115 w 1243081"/>
                    <a:gd name="connsiteY0" fmla="*/ 39574 h 1243078"/>
                    <a:gd name="connsiteX1" fmla="*/ 84364 w 1243081"/>
                    <a:gd name="connsiteY1" fmla="*/ 41341 h 1243078"/>
                    <a:gd name="connsiteX2" fmla="*/ 37097 w 1243081"/>
                    <a:gd name="connsiteY2" fmla="*/ 41341 h 1243078"/>
                    <a:gd name="connsiteX3" fmla="*/ 37097 w 1243081"/>
                    <a:gd name="connsiteY3" fmla="*/ 1201739 h 1243078"/>
                    <a:gd name="connsiteX4" fmla="*/ 1205984 w 1243081"/>
                    <a:gd name="connsiteY4" fmla="*/ 1201739 h 1243078"/>
                    <a:gd name="connsiteX5" fmla="*/ 1205984 w 1243081"/>
                    <a:gd name="connsiteY5" fmla="*/ 41341 h 1243078"/>
                    <a:gd name="connsiteX6" fmla="*/ 101866 w 1243081"/>
                    <a:gd name="connsiteY6" fmla="*/ 41341 h 1243078"/>
                    <a:gd name="connsiteX7" fmla="*/ 0 w 1243081"/>
                    <a:gd name="connsiteY7" fmla="*/ 0 h 1243078"/>
                    <a:gd name="connsiteX8" fmla="*/ 1243081 w 1243081"/>
                    <a:gd name="connsiteY8" fmla="*/ 0 h 1243078"/>
                    <a:gd name="connsiteX9" fmla="*/ 1243081 w 1243081"/>
                    <a:gd name="connsiteY9" fmla="*/ 1243078 h 1243078"/>
                    <a:gd name="connsiteX10" fmla="*/ 0 w 1243081"/>
                    <a:gd name="connsiteY10" fmla="*/ 1243078 h 1243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43081" h="1243078">
                      <a:moveTo>
                        <a:pt x="93115" y="39574"/>
                      </a:moveTo>
                      <a:lnTo>
                        <a:pt x="84364" y="41341"/>
                      </a:lnTo>
                      <a:lnTo>
                        <a:pt x="37097" y="41341"/>
                      </a:lnTo>
                      <a:lnTo>
                        <a:pt x="37097" y="1201739"/>
                      </a:lnTo>
                      <a:lnTo>
                        <a:pt x="1205984" y="1201739"/>
                      </a:lnTo>
                      <a:lnTo>
                        <a:pt x="1205984" y="41341"/>
                      </a:lnTo>
                      <a:lnTo>
                        <a:pt x="101866" y="41341"/>
                      </a:lnTo>
                      <a:close/>
                      <a:moveTo>
                        <a:pt x="0" y="0"/>
                      </a:moveTo>
                      <a:lnTo>
                        <a:pt x="1243081" y="0"/>
                      </a:lnTo>
                      <a:lnTo>
                        <a:pt x="1243081" y="1243078"/>
                      </a:lnTo>
                      <a:lnTo>
                        <a:pt x="0" y="1243078"/>
                      </a:ln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480" name="Group 479"/>
            <p:cNvGrpSpPr/>
            <p:nvPr/>
          </p:nvGrpSpPr>
          <p:grpSpPr>
            <a:xfrm>
              <a:off x="6216966" y="1814158"/>
              <a:ext cx="584591" cy="584590"/>
              <a:chOff x="6223708" y="1817850"/>
              <a:chExt cx="584591" cy="584590"/>
            </a:xfrm>
          </p:grpSpPr>
          <p:grpSp>
            <p:nvGrpSpPr>
              <p:cNvPr id="779" name="Group 778"/>
              <p:cNvGrpSpPr/>
              <p:nvPr/>
            </p:nvGrpSpPr>
            <p:grpSpPr>
              <a:xfrm>
                <a:off x="6223708" y="1817850"/>
                <a:ext cx="584591" cy="584590"/>
                <a:chOff x="2173916" y="1030917"/>
                <a:chExt cx="4796165" cy="4796166"/>
              </a:xfrm>
              <a:solidFill>
                <a:srgbClr val="1A3762"/>
              </a:solidFill>
            </p:grpSpPr>
            <p:sp>
              <p:nvSpPr>
                <p:cNvPr id="782" name="Rounded Rectangle 47"/>
                <p:cNvSpPr/>
                <p:nvPr/>
              </p:nvSpPr>
              <p:spPr>
                <a:xfrm rot="5400000">
                  <a:off x="2173916" y="1030917"/>
                  <a:ext cx="4796166" cy="47961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6166" h="4796165">
                      <a:moveTo>
                        <a:pt x="4535493" y="1516069"/>
                      </a:moveTo>
                      <a:lnTo>
                        <a:pt x="4535493" y="921709"/>
                      </a:lnTo>
                      <a:lnTo>
                        <a:pt x="4697104" y="921709"/>
                      </a:lnTo>
                      <a:cubicBezTo>
                        <a:pt x="4751814" y="921709"/>
                        <a:pt x="4796166" y="966061"/>
                        <a:pt x="4796166" y="1020771"/>
                      </a:cubicBezTo>
                      <a:lnTo>
                        <a:pt x="4796166" y="1417007"/>
                      </a:lnTo>
                      <a:cubicBezTo>
                        <a:pt x="4796166" y="1471717"/>
                        <a:pt x="4751814" y="1516069"/>
                        <a:pt x="4697104" y="1516069"/>
                      </a:cubicBezTo>
                      <a:close/>
                      <a:moveTo>
                        <a:pt x="4535493" y="2695264"/>
                      </a:moveTo>
                      <a:lnTo>
                        <a:pt x="4535493" y="2100904"/>
                      </a:lnTo>
                      <a:lnTo>
                        <a:pt x="4697104" y="2100904"/>
                      </a:lnTo>
                      <a:cubicBezTo>
                        <a:pt x="4751814" y="2100904"/>
                        <a:pt x="4796166" y="2145256"/>
                        <a:pt x="4796166" y="2199966"/>
                      </a:cubicBezTo>
                      <a:lnTo>
                        <a:pt x="4796166" y="2596202"/>
                      </a:lnTo>
                      <a:cubicBezTo>
                        <a:pt x="4796166" y="2650912"/>
                        <a:pt x="4751814" y="2695264"/>
                        <a:pt x="4697104" y="2695264"/>
                      </a:cubicBezTo>
                      <a:close/>
                      <a:moveTo>
                        <a:pt x="4535493" y="3874459"/>
                      </a:moveTo>
                      <a:lnTo>
                        <a:pt x="4535493" y="3280099"/>
                      </a:lnTo>
                      <a:lnTo>
                        <a:pt x="4697104" y="3280099"/>
                      </a:lnTo>
                      <a:cubicBezTo>
                        <a:pt x="4751814" y="3280099"/>
                        <a:pt x="4796166" y="3324451"/>
                        <a:pt x="4796166" y="3379161"/>
                      </a:cubicBezTo>
                      <a:lnTo>
                        <a:pt x="4796166" y="3775397"/>
                      </a:lnTo>
                      <a:cubicBezTo>
                        <a:pt x="4796166" y="3830107"/>
                        <a:pt x="4751814" y="3874459"/>
                        <a:pt x="4697104" y="3874459"/>
                      </a:cubicBezTo>
                      <a:close/>
                      <a:moveTo>
                        <a:pt x="3280098" y="260673"/>
                      </a:moveTo>
                      <a:lnTo>
                        <a:pt x="3280098" y="99062"/>
                      </a:lnTo>
                      <a:cubicBezTo>
                        <a:pt x="3280098" y="44352"/>
                        <a:pt x="3324450" y="0"/>
                        <a:pt x="3379160" y="0"/>
                      </a:cubicBezTo>
                      <a:lnTo>
                        <a:pt x="3775396" y="0"/>
                      </a:lnTo>
                      <a:cubicBezTo>
                        <a:pt x="3830106" y="0"/>
                        <a:pt x="3874458" y="44352"/>
                        <a:pt x="3874458" y="99062"/>
                      </a:cubicBezTo>
                      <a:lnTo>
                        <a:pt x="3874458" y="260673"/>
                      </a:lnTo>
                      <a:close/>
                      <a:moveTo>
                        <a:pt x="3280098" y="4697103"/>
                      </a:moveTo>
                      <a:lnTo>
                        <a:pt x="3280098" y="4535493"/>
                      </a:lnTo>
                      <a:lnTo>
                        <a:pt x="3874458" y="4535493"/>
                      </a:lnTo>
                      <a:lnTo>
                        <a:pt x="3874458" y="4697103"/>
                      </a:lnTo>
                      <a:cubicBezTo>
                        <a:pt x="3874458" y="4751813"/>
                        <a:pt x="3830106" y="4796165"/>
                        <a:pt x="3775396" y="4796165"/>
                      </a:cubicBezTo>
                      <a:lnTo>
                        <a:pt x="3379160" y="4796165"/>
                      </a:lnTo>
                      <a:cubicBezTo>
                        <a:pt x="3324450" y="4796165"/>
                        <a:pt x="3280098" y="4751813"/>
                        <a:pt x="3280098" y="4697103"/>
                      </a:cubicBezTo>
                      <a:close/>
                      <a:moveTo>
                        <a:pt x="2100903" y="260673"/>
                      </a:moveTo>
                      <a:lnTo>
                        <a:pt x="2100903" y="99062"/>
                      </a:lnTo>
                      <a:cubicBezTo>
                        <a:pt x="2100903" y="44352"/>
                        <a:pt x="2145255" y="0"/>
                        <a:pt x="2199965" y="0"/>
                      </a:cubicBezTo>
                      <a:lnTo>
                        <a:pt x="2596201" y="0"/>
                      </a:lnTo>
                      <a:cubicBezTo>
                        <a:pt x="2650911" y="0"/>
                        <a:pt x="2695263" y="44352"/>
                        <a:pt x="2695263" y="99062"/>
                      </a:cubicBezTo>
                      <a:lnTo>
                        <a:pt x="2695263" y="260673"/>
                      </a:lnTo>
                      <a:close/>
                      <a:moveTo>
                        <a:pt x="2100903" y="4697103"/>
                      </a:moveTo>
                      <a:lnTo>
                        <a:pt x="2100903" y="4535493"/>
                      </a:lnTo>
                      <a:lnTo>
                        <a:pt x="2695263" y="4535493"/>
                      </a:lnTo>
                      <a:lnTo>
                        <a:pt x="2695263" y="4697103"/>
                      </a:lnTo>
                      <a:cubicBezTo>
                        <a:pt x="2695263" y="4751813"/>
                        <a:pt x="2650911" y="4796165"/>
                        <a:pt x="2596201" y="4796165"/>
                      </a:cubicBezTo>
                      <a:lnTo>
                        <a:pt x="2199965" y="4796165"/>
                      </a:lnTo>
                      <a:cubicBezTo>
                        <a:pt x="2145255" y="4796165"/>
                        <a:pt x="2100903" y="4751813"/>
                        <a:pt x="2100903" y="4697103"/>
                      </a:cubicBezTo>
                      <a:close/>
                      <a:moveTo>
                        <a:pt x="921708" y="260673"/>
                      </a:moveTo>
                      <a:lnTo>
                        <a:pt x="921708" y="99062"/>
                      </a:lnTo>
                      <a:cubicBezTo>
                        <a:pt x="921708" y="44352"/>
                        <a:pt x="966060" y="0"/>
                        <a:pt x="1020770" y="0"/>
                      </a:cubicBezTo>
                      <a:lnTo>
                        <a:pt x="1417006" y="0"/>
                      </a:lnTo>
                      <a:cubicBezTo>
                        <a:pt x="1471716" y="0"/>
                        <a:pt x="1516068" y="44352"/>
                        <a:pt x="1516068" y="99062"/>
                      </a:cubicBezTo>
                      <a:lnTo>
                        <a:pt x="1516068" y="260673"/>
                      </a:lnTo>
                      <a:close/>
                      <a:moveTo>
                        <a:pt x="921708" y="4697103"/>
                      </a:moveTo>
                      <a:lnTo>
                        <a:pt x="921708" y="4535493"/>
                      </a:lnTo>
                      <a:lnTo>
                        <a:pt x="1516068" y="4535493"/>
                      </a:lnTo>
                      <a:lnTo>
                        <a:pt x="1516068" y="4697103"/>
                      </a:lnTo>
                      <a:cubicBezTo>
                        <a:pt x="1516068" y="4751813"/>
                        <a:pt x="1471716" y="4796165"/>
                        <a:pt x="1417006" y="4796165"/>
                      </a:cubicBezTo>
                      <a:lnTo>
                        <a:pt x="1020770" y="4796165"/>
                      </a:lnTo>
                      <a:cubicBezTo>
                        <a:pt x="966060" y="4796165"/>
                        <a:pt x="921708" y="4751813"/>
                        <a:pt x="921708" y="4697103"/>
                      </a:cubicBezTo>
                      <a:close/>
                      <a:moveTo>
                        <a:pt x="0" y="1417007"/>
                      </a:moveTo>
                      <a:lnTo>
                        <a:pt x="0" y="1020771"/>
                      </a:lnTo>
                      <a:cubicBezTo>
                        <a:pt x="0" y="966061"/>
                        <a:pt x="44352" y="921709"/>
                        <a:pt x="99062" y="921709"/>
                      </a:cubicBezTo>
                      <a:lnTo>
                        <a:pt x="260673" y="921709"/>
                      </a:lnTo>
                      <a:lnTo>
                        <a:pt x="260673" y="1516069"/>
                      </a:lnTo>
                      <a:lnTo>
                        <a:pt x="99062" y="1516069"/>
                      </a:lnTo>
                      <a:cubicBezTo>
                        <a:pt x="44352" y="1516069"/>
                        <a:pt x="0" y="1471717"/>
                        <a:pt x="0" y="1417007"/>
                      </a:cubicBezTo>
                      <a:close/>
                      <a:moveTo>
                        <a:pt x="0" y="2596202"/>
                      </a:moveTo>
                      <a:lnTo>
                        <a:pt x="0" y="2199966"/>
                      </a:lnTo>
                      <a:cubicBezTo>
                        <a:pt x="0" y="2145256"/>
                        <a:pt x="44352" y="2100904"/>
                        <a:pt x="99062" y="2100904"/>
                      </a:cubicBezTo>
                      <a:lnTo>
                        <a:pt x="260673" y="2100904"/>
                      </a:lnTo>
                      <a:lnTo>
                        <a:pt x="260673" y="2695264"/>
                      </a:lnTo>
                      <a:lnTo>
                        <a:pt x="99062" y="2695264"/>
                      </a:lnTo>
                      <a:cubicBezTo>
                        <a:pt x="44352" y="2695264"/>
                        <a:pt x="0" y="2650912"/>
                        <a:pt x="0" y="2596202"/>
                      </a:cubicBezTo>
                      <a:close/>
                      <a:moveTo>
                        <a:pt x="0" y="3775397"/>
                      </a:moveTo>
                      <a:lnTo>
                        <a:pt x="0" y="3379161"/>
                      </a:lnTo>
                      <a:cubicBezTo>
                        <a:pt x="0" y="3324451"/>
                        <a:pt x="44352" y="3280099"/>
                        <a:pt x="99062" y="3280099"/>
                      </a:cubicBezTo>
                      <a:lnTo>
                        <a:pt x="260673" y="3280099"/>
                      </a:lnTo>
                      <a:lnTo>
                        <a:pt x="260673" y="3874459"/>
                      </a:lnTo>
                      <a:lnTo>
                        <a:pt x="99062" y="3874459"/>
                      </a:lnTo>
                      <a:cubicBezTo>
                        <a:pt x="44352" y="3874459"/>
                        <a:pt x="0" y="3830107"/>
                        <a:pt x="0" y="3775397"/>
                      </a:cubicBez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3" name="Rectangle 41"/>
                <p:cNvSpPr/>
                <p:nvPr/>
              </p:nvSpPr>
              <p:spPr>
                <a:xfrm>
                  <a:off x="2537458" y="1394458"/>
                  <a:ext cx="4069082" cy="40690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69082" h="4069082">
                      <a:moveTo>
                        <a:pt x="556260" y="556260"/>
                      </a:moveTo>
                      <a:lnTo>
                        <a:pt x="556260" y="3512822"/>
                      </a:lnTo>
                      <a:lnTo>
                        <a:pt x="3512822" y="3512822"/>
                      </a:lnTo>
                      <a:lnTo>
                        <a:pt x="3512822" y="556260"/>
                      </a:lnTo>
                      <a:close/>
                      <a:moveTo>
                        <a:pt x="304802" y="129542"/>
                      </a:moveTo>
                      <a:cubicBezTo>
                        <a:pt x="216425" y="129542"/>
                        <a:pt x="144782" y="201185"/>
                        <a:pt x="144782" y="289562"/>
                      </a:cubicBezTo>
                      <a:cubicBezTo>
                        <a:pt x="144782" y="377939"/>
                        <a:pt x="216425" y="449582"/>
                        <a:pt x="304802" y="449582"/>
                      </a:cubicBezTo>
                      <a:cubicBezTo>
                        <a:pt x="393179" y="449582"/>
                        <a:pt x="464822" y="377939"/>
                        <a:pt x="464822" y="289562"/>
                      </a:cubicBezTo>
                      <a:cubicBezTo>
                        <a:pt x="464822" y="201185"/>
                        <a:pt x="393179" y="129542"/>
                        <a:pt x="304802" y="129542"/>
                      </a:cubicBezTo>
                      <a:close/>
                      <a:moveTo>
                        <a:pt x="0" y="0"/>
                      </a:moveTo>
                      <a:lnTo>
                        <a:pt x="4069082" y="0"/>
                      </a:lnTo>
                      <a:lnTo>
                        <a:pt x="4069082" y="4069082"/>
                      </a:lnTo>
                      <a:lnTo>
                        <a:pt x="0" y="4069082"/>
                      </a:ln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4" name="Rectangle 783"/>
                <p:cNvSpPr/>
                <p:nvPr/>
              </p:nvSpPr>
              <p:spPr>
                <a:xfrm>
                  <a:off x="3337558" y="2194558"/>
                  <a:ext cx="2468882" cy="2468882"/>
                </a:xfrm>
                <a:prstGeom prst="rect">
                  <a:avLst/>
                </a:prstGeom>
                <a:solidFill>
                  <a:srgbClr val="006FC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80" name="Freeform 2191"/>
              <p:cNvSpPr>
                <a:spLocks noEditPoints="1"/>
              </p:cNvSpPr>
              <p:nvPr/>
            </p:nvSpPr>
            <p:spPr bwMode="auto">
              <a:xfrm>
                <a:off x="6382956" y="2064263"/>
                <a:ext cx="184416" cy="18520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1" name="Freeform 2191"/>
              <p:cNvSpPr>
                <a:spLocks noEditPoints="1"/>
              </p:cNvSpPr>
              <p:nvPr/>
            </p:nvSpPr>
            <p:spPr bwMode="auto">
              <a:xfrm rot="1361653">
                <a:off x="6532123" y="1976189"/>
                <a:ext cx="111652" cy="112130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ysClr val="window" lastClr="FFFFFF">
                  <a:alpha val="50000"/>
                </a:sysClr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81" name="Group 480"/>
            <p:cNvGrpSpPr/>
            <p:nvPr/>
          </p:nvGrpSpPr>
          <p:grpSpPr>
            <a:xfrm>
              <a:off x="39875" y="687828"/>
              <a:ext cx="2380672" cy="4173005"/>
              <a:chOff x="3991813" y="534665"/>
              <a:chExt cx="2302694" cy="4036319"/>
            </a:xfrm>
          </p:grpSpPr>
          <p:grpSp>
            <p:nvGrpSpPr>
              <p:cNvPr id="710" name="Group 709"/>
              <p:cNvGrpSpPr/>
              <p:nvPr/>
            </p:nvGrpSpPr>
            <p:grpSpPr>
              <a:xfrm>
                <a:off x="4056801" y="1120491"/>
                <a:ext cx="2180016" cy="3398614"/>
                <a:chOff x="3945730" y="1235076"/>
                <a:chExt cx="1850233" cy="2884487"/>
              </a:xfrm>
            </p:grpSpPr>
            <p:grpSp>
              <p:nvGrpSpPr>
                <p:cNvPr id="753" name="Group 752"/>
                <p:cNvGrpSpPr/>
                <p:nvPr/>
              </p:nvGrpSpPr>
              <p:grpSpPr>
                <a:xfrm>
                  <a:off x="4614862" y="1235076"/>
                  <a:ext cx="1181101" cy="2884487"/>
                  <a:chOff x="4614862" y="1235076"/>
                  <a:chExt cx="1181101" cy="2884487"/>
                </a:xfrm>
              </p:grpSpPr>
              <p:sp>
                <p:nvSpPr>
                  <p:cNvPr id="767" name="Freeform 766"/>
                  <p:cNvSpPr/>
                  <p:nvPr/>
                </p:nvSpPr>
                <p:spPr>
                  <a:xfrm>
                    <a:off x="5143501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8" name="Freeform 767"/>
                  <p:cNvSpPr/>
                  <p:nvPr/>
                </p:nvSpPr>
                <p:spPr>
                  <a:xfrm>
                    <a:off x="5100638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9" name="Freeform 768"/>
                  <p:cNvSpPr/>
                  <p:nvPr/>
                </p:nvSpPr>
                <p:spPr>
                  <a:xfrm>
                    <a:off x="5053013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0" name="Freeform 769"/>
                  <p:cNvSpPr/>
                  <p:nvPr/>
                </p:nvSpPr>
                <p:spPr>
                  <a:xfrm>
                    <a:off x="5000626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1" name="Freeform 770"/>
                  <p:cNvSpPr/>
                  <p:nvPr/>
                </p:nvSpPr>
                <p:spPr>
                  <a:xfrm>
                    <a:off x="4957763" y="1612901"/>
                    <a:ext cx="788987" cy="2506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788987"/>
                      <a:gd name="connsiteY0" fmla="*/ 2506662 h 2506662"/>
                      <a:gd name="connsiteX1" fmla="*/ 33337 w 788987"/>
                      <a:gd name="connsiteY1" fmla="*/ 1892300 h 2506662"/>
                      <a:gd name="connsiteX2" fmla="*/ 176212 w 788987"/>
                      <a:gd name="connsiteY2" fmla="*/ 1644650 h 2506662"/>
                      <a:gd name="connsiteX3" fmla="*/ 185737 w 788987"/>
                      <a:gd name="connsiteY3" fmla="*/ 1368425 h 2506662"/>
                      <a:gd name="connsiteX4" fmla="*/ 280987 w 788987"/>
                      <a:gd name="connsiteY4" fmla="*/ 1044575 h 2506662"/>
                      <a:gd name="connsiteX5" fmla="*/ 585787 w 788987"/>
                      <a:gd name="connsiteY5" fmla="*/ 558800 h 2506662"/>
                      <a:gd name="connsiteX6" fmla="*/ 788987 w 788987"/>
                      <a:gd name="connsiteY6" fmla="*/ 0 h 2506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8987" h="2506662">
                        <a:moveTo>
                          <a:pt x="0" y="2506662"/>
                        </a:moveTo>
                        <a:cubicBezTo>
                          <a:pt x="43656" y="2383631"/>
                          <a:pt x="3968" y="2035969"/>
                          <a:pt x="33337" y="1892300"/>
                        </a:cubicBezTo>
                        <a:cubicBezTo>
                          <a:pt x="62706" y="1748631"/>
                          <a:pt x="150812" y="1731962"/>
                          <a:pt x="176212" y="1644650"/>
                        </a:cubicBezTo>
                        <a:cubicBezTo>
                          <a:pt x="201612" y="1557338"/>
                          <a:pt x="168275" y="1468437"/>
                          <a:pt x="185737" y="1368425"/>
                        </a:cubicBezTo>
                        <a:cubicBezTo>
                          <a:pt x="203199" y="1268413"/>
                          <a:pt x="214312" y="1179512"/>
                          <a:pt x="280987" y="1044575"/>
                        </a:cubicBezTo>
                        <a:cubicBezTo>
                          <a:pt x="347662" y="909638"/>
                          <a:pt x="501120" y="732896"/>
                          <a:pt x="585787" y="558800"/>
                        </a:cubicBezTo>
                        <a:cubicBezTo>
                          <a:pt x="670454" y="384704"/>
                          <a:pt x="500855" y="182562"/>
                          <a:pt x="7889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2" name="Freeform 771"/>
                  <p:cNvSpPr/>
                  <p:nvPr/>
                </p:nvSpPr>
                <p:spPr>
                  <a:xfrm>
                    <a:off x="4905376" y="1504951"/>
                    <a:ext cx="804862" cy="261461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804862"/>
                      <a:gd name="connsiteY0" fmla="*/ 2614612 h 2614612"/>
                      <a:gd name="connsiteX1" fmla="*/ 33337 w 804862"/>
                      <a:gd name="connsiteY1" fmla="*/ 2000250 h 2614612"/>
                      <a:gd name="connsiteX2" fmla="*/ 176212 w 804862"/>
                      <a:gd name="connsiteY2" fmla="*/ 1752600 h 2614612"/>
                      <a:gd name="connsiteX3" fmla="*/ 185737 w 804862"/>
                      <a:gd name="connsiteY3" fmla="*/ 1476375 h 2614612"/>
                      <a:gd name="connsiteX4" fmla="*/ 280987 w 804862"/>
                      <a:gd name="connsiteY4" fmla="*/ 1152525 h 2614612"/>
                      <a:gd name="connsiteX5" fmla="*/ 585787 w 804862"/>
                      <a:gd name="connsiteY5" fmla="*/ 666750 h 2614612"/>
                      <a:gd name="connsiteX6" fmla="*/ 804862 w 804862"/>
                      <a:gd name="connsiteY6" fmla="*/ 0 h 26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04862" h="2614612">
                        <a:moveTo>
                          <a:pt x="0" y="2614612"/>
                        </a:moveTo>
                        <a:cubicBezTo>
                          <a:pt x="43656" y="2491581"/>
                          <a:pt x="3968" y="2143919"/>
                          <a:pt x="33337" y="2000250"/>
                        </a:cubicBezTo>
                        <a:cubicBezTo>
                          <a:pt x="62706" y="1856581"/>
                          <a:pt x="150812" y="1839912"/>
                          <a:pt x="176212" y="1752600"/>
                        </a:cubicBezTo>
                        <a:cubicBezTo>
                          <a:pt x="201612" y="1665288"/>
                          <a:pt x="168275" y="1576387"/>
                          <a:pt x="185737" y="1476375"/>
                        </a:cubicBezTo>
                        <a:cubicBezTo>
                          <a:pt x="203199" y="1376363"/>
                          <a:pt x="214312" y="1287462"/>
                          <a:pt x="280987" y="1152525"/>
                        </a:cubicBezTo>
                        <a:cubicBezTo>
                          <a:pt x="347662" y="1017588"/>
                          <a:pt x="498474" y="858838"/>
                          <a:pt x="585787" y="666750"/>
                        </a:cubicBezTo>
                        <a:cubicBezTo>
                          <a:pt x="673100" y="474662"/>
                          <a:pt x="519905" y="204787"/>
                          <a:pt x="8048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3" name="Freeform 772"/>
                  <p:cNvSpPr/>
                  <p:nvPr/>
                </p:nvSpPr>
                <p:spPr>
                  <a:xfrm>
                    <a:off x="4852989" y="1435101"/>
                    <a:ext cx="782637" cy="26844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782637"/>
                      <a:gd name="connsiteY0" fmla="*/ 2684462 h 2684462"/>
                      <a:gd name="connsiteX1" fmla="*/ 33337 w 782637"/>
                      <a:gd name="connsiteY1" fmla="*/ 2070100 h 2684462"/>
                      <a:gd name="connsiteX2" fmla="*/ 176212 w 782637"/>
                      <a:gd name="connsiteY2" fmla="*/ 1822450 h 2684462"/>
                      <a:gd name="connsiteX3" fmla="*/ 185737 w 782637"/>
                      <a:gd name="connsiteY3" fmla="*/ 1546225 h 2684462"/>
                      <a:gd name="connsiteX4" fmla="*/ 280987 w 782637"/>
                      <a:gd name="connsiteY4" fmla="*/ 1222375 h 2684462"/>
                      <a:gd name="connsiteX5" fmla="*/ 585787 w 782637"/>
                      <a:gd name="connsiteY5" fmla="*/ 736600 h 2684462"/>
                      <a:gd name="connsiteX6" fmla="*/ 782637 w 782637"/>
                      <a:gd name="connsiteY6" fmla="*/ 0 h 26844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2637" h="2684462">
                        <a:moveTo>
                          <a:pt x="0" y="2684462"/>
                        </a:moveTo>
                        <a:cubicBezTo>
                          <a:pt x="43656" y="2561431"/>
                          <a:pt x="3968" y="2213769"/>
                          <a:pt x="33337" y="2070100"/>
                        </a:cubicBezTo>
                        <a:cubicBezTo>
                          <a:pt x="62706" y="1926431"/>
                          <a:pt x="150812" y="1909762"/>
                          <a:pt x="176212" y="1822450"/>
                        </a:cubicBezTo>
                        <a:cubicBezTo>
                          <a:pt x="201612" y="1735138"/>
                          <a:pt x="168275" y="1646237"/>
                          <a:pt x="185737" y="1546225"/>
                        </a:cubicBezTo>
                        <a:cubicBezTo>
                          <a:pt x="203199" y="1446213"/>
                          <a:pt x="214312" y="1357312"/>
                          <a:pt x="280987" y="1222375"/>
                        </a:cubicBezTo>
                        <a:cubicBezTo>
                          <a:pt x="347662" y="1087438"/>
                          <a:pt x="502179" y="940329"/>
                          <a:pt x="585787" y="736600"/>
                        </a:cubicBezTo>
                        <a:cubicBezTo>
                          <a:pt x="669395" y="532871"/>
                          <a:pt x="504030" y="255587"/>
                          <a:pt x="7826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4" name="Freeform 773"/>
                  <p:cNvSpPr/>
                  <p:nvPr/>
                </p:nvSpPr>
                <p:spPr>
                  <a:xfrm>
                    <a:off x="4810125" y="1358901"/>
                    <a:ext cx="769937" cy="2760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43795"/>
                      <a:gd name="connsiteY0" fmla="*/ 2659062 h 2662311"/>
                      <a:gd name="connsiteX1" fmla="*/ 228600 w 843795"/>
                      <a:gd name="connsiteY1" fmla="*/ 2535237 h 2662311"/>
                      <a:gd name="connsiteX2" fmla="*/ 261937 w 843795"/>
                      <a:gd name="connsiteY2" fmla="*/ 1920875 h 2662311"/>
                      <a:gd name="connsiteX3" fmla="*/ 404812 w 843795"/>
                      <a:gd name="connsiteY3" fmla="*/ 1673225 h 2662311"/>
                      <a:gd name="connsiteX4" fmla="*/ 414337 w 843795"/>
                      <a:gd name="connsiteY4" fmla="*/ 1397000 h 2662311"/>
                      <a:gd name="connsiteX5" fmla="*/ 509587 w 843795"/>
                      <a:gd name="connsiteY5" fmla="*/ 1073150 h 2662311"/>
                      <a:gd name="connsiteX6" fmla="*/ 814387 w 843795"/>
                      <a:gd name="connsiteY6" fmla="*/ 587375 h 2662311"/>
                      <a:gd name="connsiteX7" fmla="*/ 833437 w 843795"/>
                      <a:gd name="connsiteY7" fmla="*/ 0 h 266231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769937"/>
                      <a:gd name="connsiteY0" fmla="*/ 2760662 h 2760662"/>
                      <a:gd name="connsiteX1" fmla="*/ 33337 w 769937"/>
                      <a:gd name="connsiteY1" fmla="*/ 2146300 h 2760662"/>
                      <a:gd name="connsiteX2" fmla="*/ 176212 w 769937"/>
                      <a:gd name="connsiteY2" fmla="*/ 1898650 h 2760662"/>
                      <a:gd name="connsiteX3" fmla="*/ 185737 w 769937"/>
                      <a:gd name="connsiteY3" fmla="*/ 1622425 h 2760662"/>
                      <a:gd name="connsiteX4" fmla="*/ 280987 w 769937"/>
                      <a:gd name="connsiteY4" fmla="*/ 1298575 h 2760662"/>
                      <a:gd name="connsiteX5" fmla="*/ 585787 w 769937"/>
                      <a:gd name="connsiteY5" fmla="*/ 812800 h 2760662"/>
                      <a:gd name="connsiteX6" fmla="*/ 769937 w 769937"/>
                      <a:gd name="connsiteY6" fmla="*/ 0 h 2760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9937" h="2760662">
                        <a:moveTo>
                          <a:pt x="0" y="2760662"/>
                        </a:moveTo>
                        <a:cubicBezTo>
                          <a:pt x="43656" y="2637631"/>
                          <a:pt x="3968" y="2289969"/>
                          <a:pt x="33337" y="2146300"/>
                        </a:cubicBezTo>
                        <a:cubicBezTo>
                          <a:pt x="62706" y="2002631"/>
                          <a:pt x="150812" y="1985962"/>
                          <a:pt x="176212" y="1898650"/>
                        </a:cubicBezTo>
                        <a:cubicBezTo>
                          <a:pt x="201612" y="1811338"/>
                          <a:pt x="168275" y="1722437"/>
                          <a:pt x="185737" y="1622425"/>
                        </a:cubicBezTo>
                        <a:cubicBezTo>
                          <a:pt x="203199" y="1522413"/>
                          <a:pt x="214312" y="1433512"/>
                          <a:pt x="280987" y="1298575"/>
                        </a:cubicBezTo>
                        <a:cubicBezTo>
                          <a:pt x="347662" y="1163638"/>
                          <a:pt x="504295" y="1029229"/>
                          <a:pt x="585787" y="812800"/>
                        </a:cubicBezTo>
                        <a:cubicBezTo>
                          <a:pt x="667279" y="596371"/>
                          <a:pt x="438942" y="441325"/>
                          <a:pt x="7699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5" name="Freeform 774"/>
                  <p:cNvSpPr/>
                  <p:nvPr/>
                </p:nvSpPr>
                <p:spPr>
                  <a:xfrm>
                    <a:off x="4752976" y="1266826"/>
                    <a:ext cx="738187" cy="285273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738187"/>
                      <a:gd name="connsiteY0" fmla="*/ 2852737 h 2852737"/>
                      <a:gd name="connsiteX1" fmla="*/ 33337 w 738187"/>
                      <a:gd name="connsiteY1" fmla="*/ 2238375 h 2852737"/>
                      <a:gd name="connsiteX2" fmla="*/ 176212 w 738187"/>
                      <a:gd name="connsiteY2" fmla="*/ 1990725 h 2852737"/>
                      <a:gd name="connsiteX3" fmla="*/ 185737 w 738187"/>
                      <a:gd name="connsiteY3" fmla="*/ 1714500 h 2852737"/>
                      <a:gd name="connsiteX4" fmla="*/ 280987 w 738187"/>
                      <a:gd name="connsiteY4" fmla="*/ 1390650 h 2852737"/>
                      <a:gd name="connsiteX5" fmla="*/ 585787 w 738187"/>
                      <a:gd name="connsiteY5" fmla="*/ 904875 h 2852737"/>
                      <a:gd name="connsiteX6" fmla="*/ 738187 w 738187"/>
                      <a:gd name="connsiteY6" fmla="*/ 0 h 2852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38187" h="2852737">
                        <a:moveTo>
                          <a:pt x="0" y="2852737"/>
                        </a:moveTo>
                        <a:cubicBezTo>
                          <a:pt x="43656" y="2729706"/>
                          <a:pt x="3968" y="2382044"/>
                          <a:pt x="33337" y="2238375"/>
                        </a:cubicBezTo>
                        <a:cubicBezTo>
                          <a:pt x="62706" y="2094706"/>
                          <a:pt x="150812" y="2078037"/>
                          <a:pt x="176212" y="1990725"/>
                        </a:cubicBezTo>
                        <a:cubicBezTo>
                          <a:pt x="201612" y="1903413"/>
                          <a:pt x="168275" y="1814512"/>
                          <a:pt x="185737" y="1714500"/>
                        </a:cubicBezTo>
                        <a:cubicBezTo>
                          <a:pt x="203199" y="1614488"/>
                          <a:pt x="214312" y="1525587"/>
                          <a:pt x="280987" y="1390650"/>
                        </a:cubicBezTo>
                        <a:cubicBezTo>
                          <a:pt x="347662" y="1255713"/>
                          <a:pt x="509587" y="1136650"/>
                          <a:pt x="585787" y="904875"/>
                        </a:cubicBezTo>
                        <a:cubicBezTo>
                          <a:pt x="661987" y="673100"/>
                          <a:pt x="383380" y="612774"/>
                          <a:pt x="7381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6" name="Freeform 775"/>
                  <p:cNvSpPr/>
                  <p:nvPr/>
                </p:nvSpPr>
                <p:spPr>
                  <a:xfrm>
                    <a:off x="4705351" y="1235076"/>
                    <a:ext cx="706437" cy="28844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706437"/>
                      <a:gd name="connsiteY0" fmla="*/ 2884487 h 2884487"/>
                      <a:gd name="connsiteX1" fmla="*/ 33337 w 706437"/>
                      <a:gd name="connsiteY1" fmla="*/ 2270125 h 2884487"/>
                      <a:gd name="connsiteX2" fmla="*/ 176212 w 706437"/>
                      <a:gd name="connsiteY2" fmla="*/ 2022475 h 2884487"/>
                      <a:gd name="connsiteX3" fmla="*/ 185737 w 706437"/>
                      <a:gd name="connsiteY3" fmla="*/ 1746250 h 2884487"/>
                      <a:gd name="connsiteX4" fmla="*/ 280987 w 706437"/>
                      <a:gd name="connsiteY4" fmla="*/ 1422400 h 2884487"/>
                      <a:gd name="connsiteX5" fmla="*/ 585787 w 706437"/>
                      <a:gd name="connsiteY5" fmla="*/ 936625 h 2884487"/>
                      <a:gd name="connsiteX6" fmla="*/ 706437 w 706437"/>
                      <a:gd name="connsiteY6" fmla="*/ 0 h 2884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6437" h="2884487">
                        <a:moveTo>
                          <a:pt x="0" y="2884487"/>
                        </a:moveTo>
                        <a:cubicBezTo>
                          <a:pt x="43656" y="2761456"/>
                          <a:pt x="3968" y="2413794"/>
                          <a:pt x="33337" y="2270125"/>
                        </a:cubicBezTo>
                        <a:cubicBezTo>
                          <a:pt x="62706" y="2126456"/>
                          <a:pt x="150812" y="2109787"/>
                          <a:pt x="176212" y="2022475"/>
                        </a:cubicBezTo>
                        <a:cubicBezTo>
                          <a:pt x="201612" y="1935163"/>
                          <a:pt x="168275" y="1846262"/>
                          <a:pt x="185737" y="1746250"/>
                        </a:cubicBezTo>
                        <a:cubicBezTo>
                          <a:pt x="203199" y="1646238"/>
                          <a:pt x="214312" y="1557337"/>
                          <a:pt x="280987" y="1422400"/>
                        </a:cubicBezTo>
                        <a:cubicBezTo>
                          <a:pt x="347662" y="1287463"/>
                          <a:pt x="514879" y="1173692"/>
                          <a:pt x="585787" y="936625"/>
                        </a:cubicBezTo>
                        <a:cubicBezTo>
                          <a:pt x="656695" y="699558"/>
                          <a:pt x="348455" y="611187"/>
                          <a:pt x="7064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7" name="Freeform 776"/>
                  <p:cNvSpPr/>
                  <p:nvPr/>
                </p:nvSpPr>
                <p:spPr>
                  <a:xfrm>
                    <a:off x="4662488" y="1287463"/>
                    <a:ext cx="591708" cy="2832099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642"/>
                      <a:gd name="connsiteY0" fmla="*/ 2800349 h 2803598"/>
                      <a:gd name="connsiteX1" fmla="*/ 228600 w 814642"/>
                      <a:gd name="connsiteY1" fmla="*/ 2676524 h 2803598"/>
                      <a:gd name="connsiteX2" fmla="*/ 261937 w 814642"/>
                      <a:gd name="connsiteY2" fmla="*/ 2062162 h 2803598"/>
                      <a:gd name="connsiteX3" fmla="*/ 404812 w 814642"/>
                      <a:gd name="connsiteY3" fmla="*/ 1814512 h 2803598"/>
                      <a:gd name="connsiteX4" fmla="*/ 414337 w 814642"/>
                      <a:gd name="connsiteY4" fmla="*/ 1538287 h 2803598"/>
                      <a:gd name="connsiteX5" fmla="*/ 509587 w 814642"/>
                      <a:gd name="connsiteY5" fmla="*/ 1214437 h 2803598"/>
                      <a:gd name="connsiteX6" fmla="*/ 814387 w 814642"/>
                      <a:gd name="connsiteY6" fmla="*/ 728662 h 2803598"/>
                      <a:gd name="connsiteX7" fmla="*/ 566737 w 814642"/>
                      <a:gd name="connsiteY7" fmla="*/ 0 h 2803598"/>
                      <a:gd name="connsiteX0" fmla="*/ 0 w 814548"/>
                      <a:gd name="connsiteY0" fmla="*/ 2800349 h 2803598"/>
                      <a:gd name="connsiteX1" fmla="*/ 228600 w 814548"/>
                      <a:gd name="connsiteY1" fmla="*/ 2676524 h 2803598"/>
                      <a:gd name="connsiteX2" fmla="*/ 261937 w 814548"/>
                      <a:gd name="connsiteY2" fmla="*/ 2062162 h 2803598"/>
                      <a:gd name="connsiteX3" fmla="*/ 404812 w 814548"/>
                      <a:gd name="connsiteY3" fmla="*/ 1814512 h 2803598"/>
                      <a:gd name="connsiteX4" fmla="*/ 414337 w 814548"/>
                      <a:gd name="connsiteY4" fmla="*/ 1538287 h 2803598"/>
                      <a:gd name="connsiteX5" fmla="*/ 509587 w 814548"/>
                      <a:gd name="connsiteY5" fmla="*/ 1214437 h 2803598"/>
                      <a:gd name="connsiteX6" fmla="*/ 814387 w 814548"/>
                      <a:gd name="connsiteY6" fmla="*/ 728662 h 2803598"/>
                      <a:gd name="connsiteX7" fmla="*/ 566737 w 814548"/>
                      <a:gd name="connsiteY7" fmla="*/ 0 h 2803598"/>
                      <a:gd name="connsiteX0" fmla="*/ 0 w 820308"/>
                      <a:gd name="connsiteY0" fmla="*/ 2955924 h 2959173"/>
                      <a:gd name="connsiteX1" fmla="*/ 228600 w 820308"/>
                      <a:gd name="connsiteY1" fmla="*/ 2832099 h 2959173"/>
                      <a:gd name="connsiteX2" fmla="*/ 261937 w 820308"/>
                      <a:gd name="connsiteY2" fmla="*/ 2217737 h 2959173"/>
                      <a:gd name="connsiteX3" fmla="*/ 404812 w 820308"/>
                      <a:gd name="connsiteY3" fmla="*/ 1970087 h 2959173"/>
                      <a:gd name="connsiteX4" fmla="*/ 414337 w 820308"/>
                      <a:gd name="connsiteY4" fmla="*/ 1693862 h 2959173"/>
                      <a:gd name="connsiteX5" fmla="*/ 509587 w 820308"/>
                      <a:gd name="connsiteY5" fmla="*/ 1370012 h 2959173"/>
                      <a:gd name="connsiteX6" fmla="*/ 814387 w 820308"/>
                      <a:gd name="connsiteY6" fmla="*/ 884237 h 2959173"/>
                      <a:gd name="connsiteX7" fmla="*/ 782637 w 820308"/>
                      <a:gd name="connsiteY7" fmla="*/ 0 h 2959173"/>
                      <a:gd name="connsiteX0" fmla="*/ 0 w 591708"/>
                      <a:gd name="connsiteY0" fmla="*/ 2832099 h 2832099"/>
                      <a:gd name="connsiteX1" fmla="*/ 33337 w 591708"/>
                      <a:gd name="connsiteY1" fmla="*/ 2217737 h 2832099"/>
                      <a:gd name="connsiteX2" fmla="*/ 176212 w 591708"/>
                      <a:gd name="connsiteY2" fmla="*/ 1970087 h 2832099"/>
                      <a:gd name="connsiteX3" fmla="*/ 185737 w 591708"/>
                      <a:gd name="connsiteY3" fmla="*/ 1693862 h 2832099"/>
                      <a:gd name="connsiteX4" fmla="*/ 280987 w 591708"/>
                      <a:gd name="connsiteY4" fmla="*/ 1370012 h 2832099"/>
                      <a:gd name="connsiteX5" fmla="*/ 585787 w 591708"/>
                      <a:gd name="connsiteY5" fmla="*/ 884237 h 2832099"/>
                      <a:gd name="connsiteX6" fmla="*/ 554037 w 591708"/>
                      <a:gd name="connsiteY6" fmla="*/ 0 h 28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91708" h="2832099">
                        <a:moveTo>
                          <a:pt x="0" y="2832099"/>
                        </a:moveTo>
                        <a:cubicBezTo>
                          <a:pt x="43656" y="2709068"/>
                          <a:pt x="3968" y="2361406"/>
                          <a:pt x="33337" y="2217737"/>
                        </a:cubicBezTo>
                        <a:cubicBezTo>
                          <a:pt x="62706" y="2074068"/>
                          <a:pt x="150812" y="2057399"/>
                          <a:pt x="176212" y="1970087"/>
                        </a:cubicBezTo>
                        <a:cubicBezTo>
                          <a:pt x="201612" y="1882775"/>
                          <a:pt x="168275" y="1793874"/>
                          <a:pt x="185737" y="1693862"/>
                        </a:cubicBezTo>
                        <a:cubicBezTo>
                          <a:pt x="203199" y="1593850"/>
                          <a:pt x="214312" y="1504949"/>
                          <a:pt x="280987" y="1370012"/>
                        </a:cubicBezTo>
                        <a:cubicBezTo>
                          <a:pt x="347662" y="1235075"/>
                          <a:pt x="540279" y="1112572"/>
                          <a:pt x="585787" y="884237"/>
                        </a:cubicBezTo>
                        <a:cubicBezTo>
                          <a:pt x="631295" y="655902"/>
                          <a:pt x="394492" y="455612"/>
                          <a:pt x="5540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8" name="Freeform 777"/>
                  <p:cNvSpPr/>
                  <p:nvPr/>
                </p:nvSpPr>
                <p:spPr>
                  <a:xfrm>
                    <a:off x="4614862" y="1309689"/>
                    <a:ext cx="577533" cy="2809874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909"/>
                      <a:gd name="connsiteY0" fmla="*/ 2800349 h 2803598"/>
                      <a:gd name="connsiteX1" fmla="*/ 228600 w 814909"/>
                      <a:gd name="connsiteY1" fmla="*/ 2676524 h 2803598"/>
                      <a:gd name="connsiteX2" fmla="*/ 261937 w 814909"/>
                      <a:gd name="connsiteY2" fmla="*/ 2062162 h 2803598"/>
                      <a:gd name="connsiteX3" fmla="*/ 404812 w 814909"/>
                      <a:gd name="connsiteY3" fmla="*/ 1814512 h 2803598"/>
                      <a:gd name="connsiteX4" fmla="*/ 414337 w 814909"/>
                      <a:gd name="connsiteY4" fmla="*/ 1538287 h 2803598"/>
                      <a:gd name="connsiteX5" fmla="*/ 509587 w 814909"/>
                      <a:gd name="connsiteY5" fmla="*/ 1214437 h 2803598"/>
                      <a:gd name="connsiteX6" fmla="*/ 814387 w 814909"/>
                      <a:gd name="connsiteY6" fmla="*/ 728662 h 2803598"/>
                      <a:gd name="connsiteX7" fmla="*/ 428624 w 814909"/>
                      <a:gd name="connsiteY7" fmla="*/ 0 h 2803598"/>
                      <a:gd name="connsiteX0" fmla="*/ 0 w 748375"/>
                      <a:gd name="connsiteY0" fmla="*/ 2800349 h 2803598"/>
                      <a:gd name="connsiteX1" fmla="*/ 228600 w 748375"/>
                      <a:gd name="connsiteY1" fmla="*/ 2676524 h 2803598"/>
                      <a:gd name="connsiteX2" fmla="*/ 261937 w 748375"/>
                      <a:gd name="connsiteY2" fmla="*/ 2062162 h 2803598"/>
                      <a:gd name="connsiteX3" fmla="*/ 404812 w 748375"/>
                      <a:gd name="connsiteY3" fmla="*/ 1814512 h 2803598"/>
                      <a:gd name="connsiteX4" fmla="*/ 414337 w 748375"/>
                      <a:gd name="connsiteY4" fmla="*/ 1538287 h 2803598"/>
                      <a:gd name="connsiteX5" fmla="*/ 509587 w 748375"/>
                      <a:gd name="connsiteY5" fmla="*/ 1214437 h 2803598"/>
                      <a:gd name="connsiteX6" fmla="*/ 747712 w 748375"/>
                      <a:gd name="connsiteY6" fmla="*/ 723900 h 2803598"/>
                      <a:gd name="connsiteX7" fmla="*/ 428624 w 748375"/>
                      <a:gd name="connsiteY7" fmla="*/ 0 h 2803598"/>
                      <a:gd name="connsiteX0" fmla="*/ 0 w 752341"/>
                      <a:gd name="connsiteY0" fmla="*/ 2955924 h 2959173"/>
                      <a:gd name="connsiteX1" fmla="*/ 228600 w 752341"/>
                      <a:gd name="connsiteY1" fmla="*/ 2832099 h 2959173"/>
                      <a:gd name="connsiteX2" fmla="*/ 261937 w 752341"/>
                      <a:gd name="connsiteY2" fmla="*/ 2217737 h 2959173"/>
                      <a:gd name="connsiteX3" fmla="*/ 404812 w 752341"/>
                      <a:gd name="connsiteY3" fmla="*/ 1970087 h 2959173"/>
                      <a:gd name="connsiteX4" fmla="*/ 414337 w 752341"/>
                      <a:gd name="connsiteY4" fmla="*/ 1693862 h 2959173"/>
                      <a:gd name="connsiteX5" fmla="*/ 509587 w 752341"/>
                      <a:gd name="connsiteY5" fmla="*/ 1370012 h 2959173"/>
                      <a:gd name="connsiteX6" fmla="*/ 747712 w 752341"/>
                      <a:gd name="connsiteY6" fmla="*/ 879475 h 2959173"/>
                      <a:gd name="connsiteX7" fmla="*/ 692149 w 752341"/>
                      <a:gd name="connsiteY7" fmla="*/ 0 h 2959173"/>
                      <a:gd name="connsiteX0" fmla="*/ 0 w 805083"/>
                      <a:gd name="connsiteY0" fmla="*/ 2955924 h 2959173"/>
                      <a:gd name="connsiteX1" fmla="*/ 228600 w 805083"/>
                      <a:gd name="connsiteY1" fmla="*/ 2832099 h 2959173"/>
                      <a:gd name="connsiteX2" fmla="*/ 261937 w 805083"/>
                      <a:gd name="connsiteY2" fmla="*/ 2217737 h 2959173"/>
                      <a:gd name="connsiteX3" fmla="*/ 404812 w 805083"/>
                      <a:gd name="connsiteY3" fmla="*/ 1970087 h 2959173"/>
                      <a:gd name="connsiteX4" fmla="*/ 414337 w 805083"/>
                      <a:gd name="connsiteY4" fmla="*/ 1693862 h 2959173"/>
                      <a:gd name="connsiteX5" fmla="*/ 509587 w 805083"/>
                      <a:gd name="connsiteY5" fmla="*/ 1370012 h 2959173"/>
                      <a:gd name="connsiteX6" fmla="*/ 801687 w 805083"/>
                      <a:gd name="connsiteY6" fmla="*/ 901700 h 2959173"/>
                      <a:gd name="connsiteX7" fmla="*/ 692149 w 805083"/>
                      <a:gd name="connsiteY7" fmla="*/ 0 h 2959173"/>
                      <a:gd name="connsiteX0" fmla="*/ 0 w 806133"/>
                      <a:gd name="connsiteY0" fmla="*/ 2933699 h 2936948"/>
                      <a:gd name="connsiteX1" fmla="*/ 228600 w 806133"/>
                      <a:gd name="connsiteY1" fmla="*/ 2809874 h 2936948"/>
                      <a:gd name="connsiteX2" fmla="*/ 261937 w 806133"/>
                      <a:gd name="connsiteY2" fmla="*/ 2195512 h 2936948"/>
                      <a:gd name="connsiteX3" fmla="*/ 404812 w 806133"/>
                      <a:gd name="connsiteY3" fmla="*/ 1947862 h 2936948"/>
                      <a:gd name="connsiteX4" fmla="*/ 414337 w 806133"/>
                      <a:gd name="connsiteY4" fmla="*/ 1671637 h 2936948"/>
                      <a:gd name="connsiteX5" fmla="*/ 509587 w 806133"/>
                      <a:gd name="connsiteY5" fmla="*/ 1347787 h 2936948"/>
                      <a:gd name="connsiteX6" fmla="*/ 801687 w 806133"/>
                      <a:gd name="connsiteY6" fmla="*/ 879475 h 2936948"/>
                      <a:gd name="connsiteX7" fmla="*/ 711199 w 806133"/>
                      <a:gd name="connsiteY7" fmla="*/ 0 h 2936948"/>
                      <a:gd name="connsiteX0" fmla="*/ 0 w 577533"/>
                      <a:gd name="connsiteY0" fmla="*/ 2809874 h 2809874"/>
                      <a:gd name="connsiteX1" fmla="*/ 33337 w 577533"/>
                      <a:gd name="connsiteY1" fmla="*/ 2195512 h 2809874"/>
                      <a:gd name="connsiteX2" fmla="*/ 176212 w 577533"/>
                      <a:gd name="connsiteY2" fmla="*/ 1947862 h 2809874"/>
                      <a:gd name="connsiteX3" fmla="*/ 185737 w 577533"/>
                      <a:gd name="connsiteY3" fmla="*/ 1671637 h 2809874"/>
                      <a:gd name="connsiteX4" fmla="*/ 280987 w 577533"/>
                      <a:gd name="connsiteY4" fmla="*/ 1347787 h 2809874"/>
                      <a:gd name="connsiteX5" fmla="*/ 573087 w 577533"/>
                      <a:gd name="connsiteY5" fmla="*/ 879475 h 2809874"/>
                      <a:gd name="connsiteX6" fmla="*/ 482599 w 577533"/>
                      <a:gd name="connsiteY6" fmla="*/ 0 h 2809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7533" h="2809874">
                        <a:moveTo>
                          <a:pt x="0" y="2809874"/>
                        </a:moveTo>
                        <a:cubicBezTo>
                          <a:pt x="43656" y="2686843"/>
                          <a:pt x="3968" y="2339181"/>
                          <a:pt x="33337" y="2195512"/>
                        </a:cubicBezTo>
                        <a:cubicBezTo>
                          <a:pt x="62706" y="2051843"/>
                          <a:pt x="150812" y="2035174"/>
                          <a:pt x="176212" y="1947862"/>
                        </a:cubicBezTo>
                        <a:cubicBezTo>
                          <a:pt x="201612" y="1860550"/>
                          <a:pt x="168275" y="1771649"/>
                          <a:pt x="185737" y="1671637"/>
                        </a:cubicBezTo>
                        <a:cubicBezTo>
                          <a:pt x="203199" y="1571625"/>
                          <a:pt x="216429" y="1479814"/>
                          <a:pt x="280987" y="1347787"/>
                        </a:cubicBezTo>
                        <a:cubicBezTo>
                          <a:pt x="345545" y="1215760"/>
                          <a:pt x="539485" y="1104106"/>
                          <a:pt x="573087" y="879475"/>
                        </a:cubicBezTo>
                        <a:cubicBezTo>
                          <a:pt x="606689" y="654844"/>
                          <a:pt x="437354" y="484187"/>
                          <a:pt x="482599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754" name="Group 753"/>
                <p:cNvGrpSpPr/>
                <p:nvPr/>
              </p:nvGrpSpPr>
              <p:grpSpPr>
                <a:xfrm flipH="1">
                  <a:off x="3945730" y="1235076"/>
                  <a:ext cx="1181101" cy="2884487"/>
                  <a:chOff x="4614862" y="1235076"/>
                  <a:chExt cx="1181101" cy="2884487"/>
                </a:xfrm>
              </p:grpSpPr>
              <p:sp>
                <p:nvSpPr>
                  <p:cNvPr id="755" name="Freeform 754"/>
                  <p:cNvSpPr/>
                  <p:nvPr/>
                </p:nvSpPr>
                <p:spPr>
                  <a:xfrm>
                    <a:off x="5143501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6" name="Freeform 755"/>
                  <p:cNvSpPr/>
                  <p:nvPr/>
                </p:nvSpPr>
                <p:spPr>
                  <a:xfrm>
                    <a:off x="5100638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7" name="Freeform 756"/>
                  <p:cNvSpPr/>
                  <p:nvPr/>
                </p:nvSpPr>
                <p:spPr>
                  <a:xfrm>
                    <a:off x="5053013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8" name="Freeform 757"/>
                  <p:cNvSpPr/>
                  <p:nvPr/>
                </p:nvSpPr>
                <p:spPr>
                  <a:xfrm>
                    <a:off x="5000626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9" name="Freeform 758"/>
                  <p:cNvSpPr/>
                  <p:nvPr/>
                </p:nvSpPr>
                <p:spPr>
                  <a:xfrm>
                    <a:off x="4957763" y="1612901"/>
                    <a:ext cx="788987" cy="2506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788987"/>
                      <a:gd name="connsiteY0" fmla="*/ 2506662 h 2506662"/>
                      <a:gd name="connsiteX1" fmla="*/ 33337 w 788987"/>
                      <a:gd name="connsiteY1" fmla="*/ 1892300 h 2506662"/>
                      <a:gd name="connsiteX2" fmla="*/ 176212 w 788987"/>
                      <a:gd name="connsiteY2" fmla="*/ 1644650 h 2506662"/>
                      <a:gd name="connsiteX3" fmla="*/ 185737 w 788987"/>
                      <a:gd name="connsiteY3" fmla="*/ 1368425 h 2506662"/>
                      <a:gd name="connsiteX4" fmla="*/ 280987 w 788987"/>
                      <a:gd name="connsiteY4" fmla="*/ 1044575 h 2506662"/>
                      <a:gd name="connsiteX5" fmla="*/ 585787 w 788987"/>
                      <a:gd name="connsiteY5" fmla="*/ 558800 h 2506662"/>
                      <a:gd name="connsiteX6" fmla="*/ 788987 w 788987"/>
                      <a:gd name="connsiteY6" fmla="*/ 0 h 2506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8987" h="2506662">
                        <a:moveTo>
                          <a:pt x="0" y="2506662"/>
                        </a:moveTo>
                        <a:cubicBezTo>
                          <a:pt x="43656" y="2383631"/>
                          <a:pt x="3968" y="2035969"/>
                          <a:pt x="33337" y="1892300"/>
                        </a:cubicBezTo>
                        <a:cubicBezTo>
                          <a:pt x="62706" y="1748631"/>
                          <a:pt x="150812" y="1731962"/>
                          <a:pt x="176212" y="1644650"/>
                        </a:cubicBezTo>
                        <a:cubicBezTo>
                          <a:pt x="201612" y="1557338"/>
                          <a:pt x="168275" y="1468437"/>
                          <a:pt x="185737" y="1368425"/>
                        </a:cubicBezTo>
                        <a:cubicBezTo>
                          <a:pt x="203199" y="1268413"/>
                          <a:pt x="214312" y="1179512"/>
                          <a:pt x="280987" y="1044575"/>
                        </a:cubicBezTo>
                        <a:cubicBezTo>
                          <a:pt x="347662" y="909638"/>
                          <a:pt x="501120" y="732896"/>
                          <a:pt x="585787" y="558800"/>
                        </a:cubicBezTo>
                        <a:cubicBezTo>
                          <a:pt x="670454" y="384704"/>
                          <a:pt x="500855" y="182562"/>
                          <a:pt x="7889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0" name="Freeform 759"/>
                  <p:cNvSpPr/>
                  <p:nvPr/>
                </p:nvSpPr>
                <p:spPr>
                  <a:xfrm>
                    <a:off x="4905376" y="1504951"/>
                    <a:ext cx="804862" cy="261461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804862"/>
                      <a:gd name="connsiteY0" fmla="*/ 2614612 h 2614612"/>
                      <a:gd name="connsiteX1" fmla="*/ 33337 w 804862"/>
                      <a:gd name="connsiteY1" fmla="*/ 2000250 h 2614612"/>
                      <a:gd name="connsiteX2" fmla="*/ 176212 w 804862"/>
                      <a:gd name="connsiteY2" fmla="*/ 1752600 h 2614612"/>
                      <a:gd name="connsiteX3" fmla="*/ 185737 w 804862"/>
                      <a:gd name="connsiteY3" fmla="*/ 1476375 h 2614612"/>
                      <a:gd name="connsiteX4" fmla="*/ 280987 w 804862"/>
                      <a:gd name="connsiteY4" fmla="*/ 1152525 h 2614612"/>
                      <a:gd name="connsiteX5" fmla="*/ 585787 w 804862"/>
                      <a:gd name="connsiteY5" fmla="*/ 666750 h 2614612"/>
                      <a:gd name="connsiteX6" fmla="*/ 804862 w 804862"/>
                      <a:gd name="connsiteY6" fmla="*/ 0 h 26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04862" h="2614612">
                        <a:moveTo>
                          <a:pt x="0" y="2614612"/>
                        </a:moveTo>
                        <a:cubicBezTo>
                          <a:pt x="43656" y="2491581"/>
                          <a:pt x="3968" y="2143919"/>
                          <a:pt x="33337" y="2000250"/>
                        </a:cubicBezTo>
                        <a:cubicBezTo>
                          <a:pt x="62706" y="1856581"/>
                          <a:pt x="150812" y="1839912"/>
                          <a:pt x="176212" y="1752600"/>
                        </a:cubicBezTo>
                        <a:cubicBezTo>
                          <a:pt x="201612" y="1665288"/>
                          <a:pt x="168275" y="1576387"/>
                          <a:pt x="185737" y="1476375"/>
                        </a:cubicBezTo>
                        <a:cubicBezTo>
                          <a:pt x="203199" y="1376363"/>
                          <a:pt x="214312" y="1287462"/>
                          <a:pt x="280987" y="1152525"/>
                        </a:cubicBezTo>
                        <a:cubicBezTo>
                          <a:pt x="347662" y="1017588"/>
                          <a:pt x="498474" y="858838"/>
                          <a:pt x="585787" y="666750"/>
                        </a:cubicBezTo>
                        <a:cubicBezTo>
                          <a:pt x="673100" y="474662"/>
                          <a:pt x="519905" y="204787"/>
                          <a:pt x="8048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1" name="Freeform 760"/>
                  <p:cNvSpPr/>
                  <p:nvPr/>
                </p:nvSpPr>
                <p:spPr>
                  <a:xfrm>
                    <a:off x="4852989" y="1435101"/>
                    <a:ext cx="782637" cy="26844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782637"/>
                      <a:gd name="connsiteY0" fmla="*/ 2684462 h 2684462"/>
                      <a:gd name="connsiteX1" fmla="*/ 33337 w 782637"/>
                      <a:gd name="connsiteY1" fmla="*/ 2070100 h 2684462"/>
                      <a:gd name="connsiteX2" fmla="*/ 176212 w 782637"/>
                      <a:gd name="connsiteY2" fmla="*/ 1822450 h 2684462"/>
                      <a:gd name="connsiteX3" fmla="*/ 185737 w 782637"/>
                      <a:gd name="connsiteY3" fmla="*/ 1546225 h 2684462"/>
                      <a:gd name="connsiteX4" fmla="*/ 280987 w 782637"/>
                      <a:gd name="connsiteY4" fmla="*/ 1222375 h 2684462"/>
                      <a:gd name="connsiteX5" fmla="*/ 585787 w 782637"/>
                      <a:gd name="connsiteY5" fmla="*/ 736600 h 2684462"/>
                      <a:gd name="connsiteX6" fmla="*/ 782637 w 782637"/>
                      <a:gd name="connsiteY6" fmla="*/ 0 h 26844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2637" h="2684462">
                        <a:moveTo>
                          <a:pt x="0" y="2684462"/>
                        </a:moveTo>
                        <a:cubicBezTo>
                          <a:pt x="43656" y="2561431"/>
                          <a:pt x="3968" y="2213769"/>
                          <a:pt x="33337" y="2070100"/>
                        </a:cubicBezTo>
                        <a:cubicBezTo>
                          <a:pt x="62706" y="1926431"/>
                          <a:pt x="150812" y="1909762"/>
                          <a:pt x="176212" y="1822450"/>
                        </a:cubicBezTo>
                        <a:cubicBezTo>
                          <a:pt x="201612" y="1735138"/>
                          <a:pt x="168275" y="1646237"/>
                          <a:pt x="185737" y="1546225"/>
                        </a:cubicBezTo>
                        <a:cubicBezTo>
                          <a:pt x="203199" y="1446213"/>
                          <a:pt x="214312" y="1357312"/>
                          <a:pt x="280987" y="1222375"/>
                        </a:cubicBezTo>
                        <a:cubicBezTo>
                          <a:pt x="347662" y="1087438"/>
                          <a:pt x="502179" y="940329"/>
                          <a:pt x="585787" y="736600"/>
                        </a:cubicBezTo>
                        <a:cubicBezTo>
                          <a:pt x="669395" y="532871"/>
                          <a:pt x="504030" y="255587"/>
                          <a:pt x="7826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2" name="Freeform 761"/>
                  <p:cNvSpPr/>
                  <p:nvPr/>
                </p:nvSpPr>
                <p:spPr>
                  <a:xfrm>
                    <a:off x="4810125" y="1358901"/>
                    <a:ext cx="769937" cy="2760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43795"/>
                      <a:gd name="connsiteY0" fmla="*/ 2659062 h 2662311"/>
                      <a:gd name="connsiteX1" fmla="*/ 228600 w 843795"/>
                      <a:gd name="connsiteY1" fmla="*/ 2535237 h 2662311"/>
                      <a:gd name="connsiteX2" fmla="*/ 261937 w 843795"/>
                      <a:gd name="connsiteY2" fmla="*/ 1920875 h 2662311"/>
                      <a:gd name="connsiteX3" fmla="*/ 404812 w 843795"/>
                      <a:gd name="connsiteY3" fmla="*/ 1673225 h 2662311"/>
                      <a:gd name="connsiteX4" fmla="*/ 414337 w 843795"/>
                      <a:gd name="connsiteY4" fmla="*/ 1397000 h 2662311"/>
                      <a:gd name="connsiteX5" fmla="*/ 509587 w 843795"/>
                      <a:gd name="connsiteY5" fmla="*/ 1073150 h 2662311"/>
                      <a:gd name="connsiteX6" fmla="*/ 814387 w 843795"/>
                      <a:gd name="connsiteY6" fmla="*/ 587375 h 2662311"/>
                      <a:gd name="connsiteX7" fmla="*/ 833437 w 843795"/>
                      <a:gd name="connsiteY7" fmla="*/ 0 h 266231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769937"/>
                      <a:gd name="connsiteY0" fmla="*/ 2760662 h 2760662"/>
                      <a:gd name="connsiteX1" fmla="*/ 33337 w 769937"/>
                      <a:gd name="connsiteY1" fmla="*/ 2146300 h 2760662"/>
                      <a:gd name="connsiteX2" fmla="*/ 176212 w 769937"/>
                      <a:gd name="connsiteY2" fmla="*/ 1898650 h 2760662"/>
                      <a:gd name="connsiteX3" fmla="*/ 185737 w 769937"/>
                      <a:gd name="connsiteY3" fmla="*/ 1622425 h 2760662"/>
                      <a:gd name="connsiteX4" fmla="*/ 280987 w 769937"/>
                      <a:gd name="connsiteY4" fmla="*/ 1298575 h 2760662"/>
                      <a:gd name="connsiteX5" fmla="*/ 585787 w 769937"/>
                      <a:gd name="connsiteY5" fmla="*/ 812800 h 2760662"/>
                      <a:gd name="connsiteX6" fmla="*/ 769937 w 769937"/>
                      <a:gd name="connsiteY6" fmla="*/ 0 h 2760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9937" h="2760662">
                        <a:moveTo>
                          <a:pt x="0" y="2760662"/>
                        </a:moveTo>
                        <a:cubicBezTo>
                          <a:pt x="43656" y="2637631"/>
                          <a:pt x="3968" y="2289969"/>
                          <a:pt x="33337" y="2146300"/>
                        </a:cubicBezTo>
                        <a:cubicBezTo>
                          <a:pt x="62706" y="2002631"/>
                          <a:pt x="150812" y="1985962"/>
                          <a:pt x="176212" y="1898650"/>
                        </a:cubicBezTo>
                        <a:cubicBezTo>
                          <a:pt x="201612" y="1811338"/>
                          <a:pt x="168275" y="1722437"/>
                          <a:pt x="185737" y="1622425"/>
                        </a:cubicBezTo>
                        <a:cubicBezTo>
                          <a:pt x="203199" y="1522413"/>
                          <a:pt x="214312" y="1433512"/>
                          <a:pt x="280987" y="1298575"/>
                        </a:cubicBezTo>
                        <a:cubicBezTo>
                          <a:pt x="347662" y="1163638"/>
                          <a:pt x="504295" y="1029229"/>
                          <a:pt x="585787" y="812800"/>
                        </a:cubicBezTo>
                        <a:cubicBezTo>
                          <a:pt x="667279" y="596371"/>
                          <a:pt x="438942" y="441325"/>
                          <a:pt x="7699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3" name="Freeform 762"/>
                  <p:cNvSpPr/>
                  <p:nvPr/>
                </p:nvSpPr>
                <p:spPr>
                  <a:xfrm>
                    <a:off x="4752976" y="1266826"/>
                    <a:ext cx="738187" cy="285273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738187"/>
                      <a:gd name="connsiteY0" fmla="*/ 2852737 h 2852737"/>
                      <a:gd name="connsiteX1" fmla="*/ 33337 w 738187"/>
                      <a:gd name="connsiteY1" fmla="*/ 2238375 h 2852737"/>
                      <a:gd name="connsiteX2" fmla="*/ 176212 w 738187"/>
                      <a:gd name="connsiteY2" fmla="*/ 1990725 h 2852737"/>
                      <a:gd name="connsiteX3" fmla="*/ 185737 w 738187"/>
                      <a:gd name="connsiteY3" fmla="*/ 1714500 h 2852737"/>
                      <a:gd name="connsiteX4" fmla="*/ 280987 w 738187"/>
                      <a:gd name="connsiteY4" fmla="*/ 1390650 h 2852737"/>
                      <a:gd name="connsiteX5" fmla="*/ 585787 w 738187"/>
                      <a:gd name="connsiteY5" fmla="*/ 904875 h 2852737"/>
                      <a:gd name="connsiteX6" fmla="*/ 738187 w 738187"/>
                      <a:gd name="connsiteY6" fmla="*/ 0 h 2852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38187" h="2852737">
                        <a:moveTo>
                          <a:pt x="0" y="2852737"/>
                        </a:moveTo>
                        <a:cubicBezTo>
                          <a:pt x="43656" y="2729706"/>
                          <a:pt x="3968" y="2382044"/>
                          <a:pt x="33337" y="2238375"/>
                        </a:cubicBezTo>
                        <a:cubicBezTo>
                          <a:pt x="62706" y="2094706"/>
                          <a:pt x="150812" y="2078037"/>
                          <a:pt x="176212" y="1990725"/>
                        </a:cubicBezTo>
                        <a:cubicBezTo>
                          <a:pt x="201612" y="1903413"/>
                          <a:pt x="168275" y="1814512"/>
                          <a:pt x="185737" y="1714500"/>
                        </a:cubicBezTo>
                        <a:cubicBezTo>
                          <a:pt x="203199" y="1614488"/>
                          <a:pt x="214312" y="1525587"/>
                          <a:pt x="280987" y="1390650"/>
                        </a:cubicBezTo>
                        <a:cubicBezTo>
                          <a:pt x="347662" y="1255713"/>
                          <a:pt x="509587" y="1136650"/>
                          <a:pt x="585787" y="904875"/>
                        </a:cubicBezTo>
                        <a:cubicBezTo>
                          <a:pt x="661987" y="673100"/>
                          <a:pt x="383380" y="612774"/>
                          <a:pt x="7381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4" name="Freeform 763"/>
                  <p:cNvSpPr/>
                  <p:nvPr/>
                </p:nvSpPr>
                <p:spPr>
                  <a:xfrm>
                    <a:off x="4705351" y="1235076"/>
                    <a:ext cx="706437" cy="28844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706437"/>
                      <a:gd name="connsiteY0" fmla="*/ 2884487 h 2884487"/>
                      <a:gd name="connsiteX1" fmla="*/ 33337 w 706437"/>
                      <a:gd name="connsiteY1" fmla="*/ 2270125 h 2884487"/>
                      <a:gd name="connsiteX2" fmla="*/ 176212 w 706437"/>
                      <a:gd name="connsiteY2" fmla="*/ 2022475 h 2884487"/>
                      <a:gd name="connsiteX3" fmla="*/ 185737 w 706437"/>
                      <a:gd name="connsiteY3" fmla="*/ 1746250 h 2884487"/>
                      <a:gd name="connsiteX4" fmla="*/ 280987 w 706437"/>
                      <a:gd name="connsiteY4" fmla="*/ 1422400 h 2884487"/>
                      <a:gd name="connsiteX5" fmla="*/ 585787 w 706437"/>
                      <a:gd name="connsiteY5" fmla="*/ 936625 h 2884487"/>
                      <a:gd name="connsiteX6" fmla="*/ 706437 w 706437"/>
                      <a:gd name="connsiteY6" fmla="*/ 0 h 2884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6437" h="2884487">
                        <a:moveTo>
                          <a:pt x="0" y="2884487"/>
                        </a:moveTo>
                        <a:cubicBezTo>
                          <a:pt x="43656" y="2761456"/>
                          <a:pt x="3968" y="2413794"/>
                          <a:pt x="33337" y="2270125"/>
                        </a:cubicBezTo>
                        <a:cubicBezTo>
                          <a:pt x="62706" y="2126456"/>
                          <a:pt x="150812" y="2109787"/>
                          <a:pt x="176212" y="2022475"/>
                        </a:cubicBezTo>
                        <a:cubicBezTo>
                          <a:pt x="201612" y="1935163"/>
                          <a:pt x="168275" y="1846262"/>
                          <a:pt x="185737" y="1746250"/>
                        </a:cubicBezTo>
                        <a:cubicBezTo>
                          <a:pt x="203199" y="1646238"/>
                          <a:pt x="214312" y="1557337"/>
                          <a:pt x="280987" y="1422400"/>
                        </a:cubicBezTo>
                        <a:cubicBezTo>
                          <a:pt x="347662" y="1287463"/>
                          <a:pt x="514879" y="1173692"/>
                          <a:pt x="585787" y="936625"/>
                        </a:cubicBezTo>
                        <a:cubicBezTo>
                          <a:pt x="656695" y="699558"/>
                          <a:pt x="348455" y="611187"/>
                          <a:pt x="7064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5" name="Freeform 764"/>
                  <p:cNvSpPr/>
                  <p:nvPr/>
                </p:nvSpPr>
                <p:spPr>
                  <a:xfrm>
                    <a:off x="4662488" y="1287463"/>
                    <a:ext cx="591708" cy="2832099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642"/>
                      <a:gd name="connsiteY0" fmla="*/ 2800349 h 2803598"/>
                      <a:gd name="connsiteX1" fmla="*/ 228600 w 814642"/>
                      <a:gd name="connsiteY1" fmla="*/ 2676524 h 2803598"/>
                      <a:gd name="connsiteX2" fmla="*/ 261937 w 814642"/>
                      <a:gd name="connsiteY2" fmla="*/ 2062162 h 2803598"/>
                      <a:gd name="connsiteX3" fmla="*/ 404812 w 814642"/>
                      <a:gd name="connsiteY3" fmla="*/ 1814512 h 2803598"/>
                      <a:gd name="connsiteX4" fmla="*/ 414337 w 814642"/>
                      <a:gd name="connsiteY4" fmla="*/ 1538287 h 2803598"/>
                      <a:gd name="connsiteX5" fmla="*/ 509587 w 814642"/>
                      <a:gd name="connsiteY5" fmla="*/ 1214437 h 2803598"/>
                      <a:gd name="connsiteX6" fmla="*/ 814387 w 814642"/>
                      <a:gd name="connsiteY6" fmla="*/ 728662 h 2803598"/>
                      <a:gd name="connsiteX7" fmla="*/ 566737 w 814642"/>
                      <a:gd name="connsiteY7" fmla="*/ 0 h 2803598"/>
                      <a:gd name="connsiteX0" fmla="*/ 0 w 814548"/>
                      <a:gd name="connsiteY0" fmla="*/ 2800349 h 2803598"/>
                      <a:gd name="connsiteX1" fmla="*/ 228600 w 814548"/>
                      <a:gd name="connsiteY1" fmla="*/ 2676524 h 2803598"/>
                      <a:gd name="connsiteX2" fmla="*/ 261937 w 814548"/>
                      <a:gd name="connsiteY2" fmla="*/ 2062162 h 2803598"/>
                      <a:gd name="connsiteX3" fmla="*/ 404812 w 814548"/>
                      <a:gd name="connsiteY3" fmla="*/ 1814512 h 2803598"/>
                      <a:gd name="connsiteX4" fmla="*/ 414337 w 814548"/>
                      <a:gd name="connsiteY4" fmla="*/ 1538287 h 2803598"/>
                      <a:gd name="connsiteX5" fmla="*/ 509587 w 814548"/>
                      <a:gd name="connsiteY5" fmla="*/ 1214437 h 2803598"/>
                      <a:gd name="connsiteX6" fmla="*/ 814387 w 814548"/>
                      <a:gd name="connsiteY6" fmla="*/ 728662 h 2803598"/>
                      <a:gd name="connsiteX7" fmla="*/ 566737 w 814548"/>
                      <a:gd name="connsiteY7" fmla="*/ 0 h 2803598"/>
                      <a:gd name="connsiteX0" fmla="*/ 0 w 820308"/>
                      <a:gd name="connsiteY0" fmla="*/ 2955924 h 2959173"/>
                      <a:gd name="connsiteX1" fmla="*/ 228600 w 820308"/>
                      <a:gd name="connsiteY1" fmla="*/ 2832099 h 2959173"/>
                      <a:gd name="connsiteX2" fmla="*/ 261937 w 820308"/>
                      <a:gd name="connsiteY2" fmla="*/ 2217737 h 2959173"/>
                      <a:gd name="connsiteX3" fmla="*/ 404812 w 820308"/>
                      <a:gd name="connsiteY3" fmla="*/ 1970087 h 2959173"/>
                      <a:gd name="connsiteX4" fmla="*/ 414337 w 820308"/>
                      <a:gd name="connsiteY4" fmla="*/ 1693862 h 2959173"/>
                      <a:gd name="connsiteX5" fmla="*/ 509587 w 820308"/>
                      <a:gd name="connsiteY5" fmla="*/ 1370012 h 2959173"/>
                      <a:gd name="connsiteX6" fmla="*/ 814387 w 820308"/>
                      <a:gd name="connsiteY6" fmla="*/ 884237 h 2959173"/>
                      <a:gd name="connsiteX7" fmla="*/ 782637 w 820308"/>
                      <a:gd name="connsiteY7" fmla="*/ 0 h 2959173"/>
                      <a:gd name="connsiteX0" fmla="*/ 0 w 591708"/>
                      <a:gd name="connsiteY0" fmla="*/ 2832099 h 2832099"/>
                      <a:gd name="connsiteX1" fmla="*/ 33337 w 591708"/>
                      <a:gd name="connsiteY1" fmla="*/ 2217737 h 2832099"/>
                      <a:gd name="connsiteX2" fmla="*/ 176212 w 591708"/>
                      <a:gd name="connsiteY2" fmla="*/ 1970087 h 2832099"/>
                      <a:gd name="connsiteX3" fmla="*/ 185737 w 591708"/>
                      <a:gd name="connsiteY3" fmla="*/ 1693862 h 2832099"/>
                      <a:gd name="connsiteX4" fmla="*/ 280987 w 591708"/>
                      <a:gd name="connsiteY4" fmla="*/ 1370012 h 2832099"/>
                      <a:gd name="connsiteX5" fmla="*/ 585787 w 591708"/>
                      <a:gd name="connsiteY5" fmla="*/ 884237 h 2832099"/>
                      <a:gd name="connsiteX6" fmla="*/ 554037 w 591708"/>
                      <a:gd name="connsiteY6" fmla="*/ 0 h 28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91708" h="2832099">
                        <a:moveTo>
                          <a:pt x="0" y="2832099"/>
                        </a:moveTo>
                        <a:cubicBezTo>
                          <a:pt x="43656" y="2709068"/>
                          <a:pt x="3968" y="2361406"/>
                          <a:pt x="33337" y="2217737"/>
                        </a:cubicBezTo>
                        <a:cubicBezTo>
                          <a:pt x="62706" y="2074068"/>
                          <a:pt x="150812" y="2057399"/>
                          <a:pt x="176212" y="1970087"/>
                        </a:cubicBezTo>
                        <a:cubicBezTo>
                          <a:pt x="201612" y="1882775"/>
                          <a:pt x="168275" y="1793874"/>
                          <a:pt x="185737" y="1693862"/>
                        </a:cubicBezTo>
                        <a:cubicBezTo>
                          <a:pt x="203199" y="1593850"/>
                          <a:pt x="214312" y="1504949"/>
                          <a:pt x="280987" y="1370012"/>
                        </a:cubicBezTo>
                        <a:cubicBezTo>
                          <a:pt x="347662" y="1235075"/>
                          <a:pt x="540279" y="1112572"/>
                          <a:pt x="585787" y="884237"/>
                        </a:cubicBezTo>
                        <a:cubicBezTo>
                          <a:pt x="631295" y="655902"/>
                          <a:pt x="394492" y="455612"/>
                          <a:pt x="5540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6" name="Freeform 765"/>
                  <p:cNvSpPr/>
                  <p:nvPr/>
                </p:nvSpPr>
                <p:spPr>
                  <a:xfrm>
                    <a:off x="4614862" y="1309689"/>
                    <a:ext cx="577533" cy="2809874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909"/>
                      <a:gd name="connsiteY0" fmla="*/ 2800349 h 2803598"/>
                      <a:gd name="connsiteX1" fmla="*/ 228600 w 814909"/>
                      <a:gd name="connsiteY1" fmla="*/ 2676524 h 2803598"/>
                      <a:gd name="connsiteX2" fmla="*/ 261937 w 814909"/>
                      <a:gd name="connsiteY2" fmla="*/ 2062162 h 2803598"/>
                      <a:gd name="connsiteX3" fmla="*/ 404812 w 814909"/>
                      <a:gd name="connsiteY3" fmla="*/ 1814512 h 2803598"/>
                      <a:gd name="connsiteX4" fmla="*/ 414337 w 814909"/>
                      <a:gd name="connsiteY4" fmla="*/ 1538287 h 2803598"/>
                      <a:gd name="connsiteX5" fmla="*/ 509587 w 814909"/>
                      <a:gd name="connsiteY5" fmla="*/ 1214437 h 2803598"/>
                      <a:gd name="connsiteX6" fmla="*/ 814387 w 814909"/>
                      <a:gd name="connsiteY6" fmla="*/ 728662 h 2803598"/>
                      <a:gd name="connsiteX7" fmla="*/ 428624 w 814909"/>
                      <a:gd name="connsiteY7" fmla="*/ 0 h 2803598"/>
                      <a:gd name="connsiteX0" fmla="*/ 0 w 748375"/>
                      <a:gd name="connsiteY0" fmla="*/ 2800349 h 2803598"/>
                      <a:gd name="connsiteX1" fmla="*/ 228600 w 748375"/>
                      <a:gd name="connsiteY1" fmla="*/ 2676524 h 2803598"/>
                      <a:gd name="connsiteX2" fmla="*/ 261937 w 748375"/>
                      <a:gd name="connsiteY2" fmla="*/ 2062162 h 2803598"/>
                      <a:gd name="connsiteX3" fmla="*/ 404812 w 748375"/>
                      <a:gd name="connsiteY3" fmla="*/ 1814512 h 2803598"/>
                      <a:gd name="connsiteX4" fmla="*/ 414337 w 748375"/>
                      <a:gd name="connsiteY4" fmla="*/ 1538287 h 2803598"/>
                      <a:gd name="connsiteX5" fmla="*/ 509587 w 748375"/>
                      <a:gd name="connsiteY5" fmla="*/ 1214437 h 2803598"/>
                      <a:gd name="connsiteX6" fmla="*/ 747712 w 748375"/>
                      <a:gd name="connsiteY6" fmla="*/ 723900 h 2803598"/>
                      <a:gd name="connsiteX7" fmla="*/ 428624 w 748375"/>
                      <a:gd name="connsiteY7" fmla="*/ 0 h 2803598"/>
                      <a:gd name="connsiteX0" fmla="*/ 0 w 752341"/>
                      <a:gd name="connsiteY0" fmla="*/ 2955924 h 2959173"/>
                      <a:gd name="connsiteX1" fmla="*/ 228600 w 752341"/>
                      <a:gd name="connsiteY1" fmla="*/ 2832099 h 2959173"/>
                      <a:gd name="connsiteX2" fmla="*/ 261937 w 752341"/>
                      <a:gd name="connsiteY2" fmla="*/ 2217737 h 2959173"/>
                      <a:gd name="connsiteX3" fmla="*/ 404812 w 752341"/>
                      <a:gd name="connsiteY3" fmla="*/ 1970087 h 2959173"/>
                      <a:gd name="connsiteX4" fmla="*/ 414337 w 752341"/>
                      <a:gd name="connsiteY4" fmla="*/ 1693862 h 2959173"/>
                      <a:gd name="connsiteX5" fmla="*/ 509587 w 752341"/>
                      <a:gd name="connsiteY5" fmla="*/ 1370012 h 2959173"/>
                      <a:gd name="connsiteX6" fmla="*/ 747712 w 752341"/>
                      <a:gd name="connsiteY6" fmla="*/ 879475 h 2959173"/>
                      <a:gd name="connsiteX7" fmla="*/ 692149 w 752341"/>
                      <a:gd name="connsiteY7" fmla="*/ 0 h 2959173"/>
                      <a:gd name="connsiteX0" fmla="*/ 0 w 805083"/>
                      <a:gd name="connsiteY0" fmla="*/ 2955924 h 2959173"/>
                      <a:gd name="connsiteX1" fmla="*/ 228600 w 805083"/>
                      <a:gd name="connsiteY1" fmla="*/ 2832099 h 2959173"/>
                      <a:gd name="connsiteX2" fmla="*/ 261937 w 805083"/>
                      <a:gd name="connsiteY2" fmla="*/ 2217737 h 2959173"/>
                      <a:gd name="connsiteX3" fmla="*/ 404812 w 805083"/>
                      <a:gd name="connsiteY3" fmla="*/ 1970087 h 2959173"/>
                      <a:gd name="connsiteX4" fmla="*/ 414337 w 805083"/>
                      <a:gd name="connsiteY4" fmla="*/ 1693862 h 2959173"/>
                      <a:gd name="connsiteX5" fmla="*/ 509587 w 805083"/>
                      <a:gd name="connsiteY5" fmla="*/ 1370012 h 2959173"/>
                      <a:gd name="connsiteX6" fmla="*/ 801687 w 805083"/>
                      <a:gd name="connsiteY6" fmla="*/ 901700 h 2959173"/>
                      <a:gd name="connsiteX7" fmla="*/ 692149 w 805083"/>
                      <a:gd name="connsiteY7" fmla="*/ 0 h 2959173"/>
                      <a:gd name="connsiteX0" fmla="*/ 0 w 806133"/>
                      <a:gd name="connsiteY0" fmla="*/ 2933699 h 2936948"/>
                      <a:gd name="connsiteX1" fmla="*/ 228600 w 806133"/>
                      <a:gd name="connsiteY1" fmla="*/ 2809874 h 2936948"/>
                      <a:gd name="connsiteX2" fmla="*/ 261937 w 806133"/>
                      <a:gd name="connsiteY2" fmla="*/ 2195512 h 2936948"/>
                      <a:gd name="connsiteX3" fmla="*/ 404812 w 806133"/>
                      <a:gd name="connsiteY3" fmla="*/ 1947862 h 2936948"/>
                      <a:gd name="connsiteX4" fmla="*/ 414337 w 806133"/>
                      <a:gd name="connsiteY4" fmla="*/ 1671637 h 2936948"/>
                      <a:gd name="connsiteX5" fmla="*/ 509587 w 806133"/>
                      <a:gd name="connsiteY5" fmla="*/ 1347787 h 2936948"/>
                      <a:gd name="connsiteX6" fmla="*/ 801687 w 806133"/>
                      <a:gd name="connsiteY6" fmla="*/ 879475 h 2936948"/>
                      <a:gd name="connsiteX7" fmla="*/ 711199 w 806133"/>
                      <a:gd name="connsiteY7" fmla="*/ 0 h 2936948"/>
                      <a:gd name="connsiteX0" fmla="*/ 0 w 577533"/>
                      <a:gd name="connsiteY0" fmla="*/ 2809874 h 2809874"/>
                      <a:gd name="connsiteX1" fmla="*/ 33337 w 577533"/>
                      <a:gd name="connsiteY1" fmla="*/ 2195512 h 2809874"/>
                      <a:gd name="connsiteX2" fmla="*/ 176212 w 577533"/>
                      <a:gd name="connsiteY2" fmla="*/ 1947862 h 2809874"/>
                      <a:gd name="connsiteX3" fmla="*/ 185737 w 577533"/>
                      <a:gd name="connsiteY3" fmla="*/ 1671637 h 2809874"/>
                      <a:gd name="connsiteX4" fmla="*/ 280987 w 577533"/>
                      <a:gd name="connsiteY4" fmla="*/ 1347787 h 2809874"/>
                      <a:gd name="connsiteX5" fmla="*/ 573087 w 577533"/>
                      <a:gd name="connsiteY5" fmla="*/ 879475 h 2809874"/>
                      <a:gd name="connsiteX6" fmla="*/ 482599 w 577533"/>
                      <a:gd name="connsiteY6" fmla="*/ 0 h 2809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7533" h="2809874">
                        <a:moveTo>
                          <a:pt x="0" y="2809874"/>
                        </a:moveTo>
                        <a:cubicBezTo>
                          <a:pt x="43656" y="2686843"/>
                          <a:pt x="3968" y="2339181"/>
                          <a:pt x="33337" y="2195512"/>
                        </a:cubicBezTo>
                        <a:cubicBezTo>
                          <a:pt x="62706" y="2051843"/>
                          <a:pt x="150812" y="2035174"/>
                          <a:pt x="176212" y="1947862"/>
                        </a:cubicBezTo>
                        <a:cubicBezTo>
                          <a:pt x="201612" y="1860550"/>
                          <a:pt x="168275" y="1771649"/>
                          <a:pt x="185737" y="1671637"/>
                        </a:cubicBezTo>
                        <a:cubicBezTo>
                          <a:pt x="203199" y="1571625"/>
                          <a:pt x="216429" y="1479814"/>
                          <a:pt x="280987" y="1347787"/>
                        </a:cubicBezTo>
                        <a:cubicBezTo>
                          <a:pt x="345545" y="1215760"/>
                          <a:pt x="539485" y="1104106"/>
                          <a:pt x="573087" y="879475"/>
                        </a:cubicBezTo>
                        <a:cubicBezTo>
                          <a:pt x="606689" y="654844"/>
                          <a:pt x="437354" y="484187"/>
                          <a:pt x="482599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sp>
            <p:nvSpPr>
              <p:cNvPr id="711" name="Freeform 710"/>
              <p:cNvSpPr/>
              <p:nvPr/>
            </p:nvSpPr>
            <p:spPr>
              <a:xfrm>
                <a:off x="5327613" y="708785"/>
                <a:ext cx="966894" cy="3862199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0826" h="3518407">
                    <a:moveTo>
                      <a:pt x="0" y="3515158"/>
                    </a:moveTo>
                    <a:cubicBezTo>
                      <a:pt x="58737" y="3526270"/>
                      <a:pt x="184944" y="3514364"/>
                      <a:pt x="228600" y="3391333"/>
                    </a:cubicBezTo>
                    <a:cubicBezTo>
                      <a:pt x="272256" y="3268302"/>
                      <a:pt x="232568" y="2920640"/>
                      <a:pt x="261937" y="2776971"/>
                    </a:cubicBezTo>
                    <a:cubicBezTo>
                      <a:pt x="291306" y="2633302"/>
                      <a:pt x="379412" y="2616633"/>
                      <a:pt x="404812" y="2529321"/>
                    </a:cubicBezTo>
                    <a:cubicBezTo>
                      <a:pt x="430212" y="2442009"/>
                      <a:pt x="396875" y="2353108"/>
                      <a:pt x="414337" y="2253096"/>
                    </a:cubicBezTo>
                    <a:cubicBezTo>
                      <a:pt x="431799" y="2153084"/>
                      <a:pt x="448781" y="2057304"/>
                      <a:pt x="509587" y="1929246"/>
                    </a:cubicBezTo>
                    <a:cubicBezTo>
                      <a:pt x="570393" y="1801188"/>
                      <a:pt x="704080" y="1643496"/>
                      <a:pt x="779174" y="1484746"/>
                    </a:cubicBezTo>
                    <a:cubicBezTo>
                      <a:pt x="854268" y="1325996"/>
                      <a:pt x="1144804" y="548698"/>
                      <a:pt x="206808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2" name="Freeform 711"/>
              <p:cNvSpPr/>
              <p:nvPr/>
            </p:nvSpPr>
            <p:spPr>
              <a:xfrm flipH="1">
                <a:off x="3995403" y="708785"/>
                <a:ext cx="966894" cy="3862199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0826" h="3518407">
                    <a:moveTo>
                      <a:pt x="0" y="3515158"/>
                    </a:moveTo>
                    <a:cubicBezTo>
                      <a:pt x="58737" y="3526270"/>
                      <a:pt x="184944" y="3514364"/>
                      <a:pt x="228600" y="3391333"/>
                    </a:cubicBezTo>
                    <a:cubicBezTo>
                      <a:pt x="272256" y="3268302"/>
                      <a:pt x="232568" y="2920640"/>
                      <a:pt x="261937" y="2776971"/>
                    </a:cubicBezTo>
                    <a:cubicBezTo>
                      <a:pt x="291306" y="2633302"/>
                      <a:pt x="379412" y="2616633"/>
                      <a:pt x="404812" y="2529321"/>
                    </a:cubicBezTo>
                    <a:cubicBezTo>
                      <a:pt x="430212" y="2442009"/>
                      <a:pt x="396875" y="2353108"/>
                      <a:pt x="414337" y="2253096"/>
                    </a:cubicBezTo>
                    <a:cubicBezTo>
                      <a:pt x="431799" y="2153084"/>
                      <a:pt x="448781" y="2057304"/>
                      <a:pt x="509587" y="1929246"/>
                    </a:cubicBezTo>
                    <a:cubicBezTo>
                      <a:pt x="570393" y="1801188"/>
                      <a:pt x="704080" y="1643496"/>
                      <a:pt x="779174" y="1484746"/>
                    </a:cubicBezTo>
                    <a:cubicBezTo>
                      <a:pt x="854268" y="1325996"/>
                      <a:pt x="1144804" y="548698"/>
                      <a:pt x="206808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13" name="Group 712"/>
              <p:cNvGrpSpPr/>
              <p:nvPr/>
            </p:nvGrpSpPr>
            <p:grpSpPr>
              <a:xfrm>
                <a:off x="5139402" y="534665"/>
                <a:ext cx="337923" cy="2304351"/>
                <a:chOff x="4795828" y="569609"/>
                <a:chExt cx="307843" cy="2099231"/>
              </a:xfrm>
            </p:grpSpPr>
            <p:sp>
              <p:nvSpPr>
                <p:cNvPr id="750" name="Freeform 749"/>
                <p:cNvSpPr/>
                <p:nvPr/>
              </p:nvSpPr>
              <p:spPr>
                <a:xfrm rot="10800000">
                  <a:off x="4798974" y="616871"/>
                  <a:ext cx="304697" cy="205196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8537" h="1772866">
                      <a:moveTo>
                        <a:pt x="378537" y="0"/>
                      </a:moveTo>
                      <a:cubicBezTo>
                        <a:pt x="252529" y="231483"/>
                        <a:pt x="-76696" y="316422"/>
                        <a:pt x="30019" y="592247"/>
                      </a:cubicBezTo>
                      <a:cubicBezTo>
                        <a:pt x="136734" y="868072"/>
                        <a:pt x="195503" y="1112546"/>
                        <a:pt x="190500" y="1309316"/>
                      </a:cubicBezTo>
                      <a:cubicBezTo>
                        <a:pt x="185497" y="1506086"/>
                        <a:pt x="97896" y="1663857"/>
                        <a:pt x="0" y="1772866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1" name="Freeform 750"/>
                <p:cNvSpPr/>
                <p:nvPr/>
              </p:nvSpPr>
              <p:spPr>
                <a:xfrm rot="10800000">
                  <a:off x="4795828" y="584317"/>
                  <a:ext cx="254954" cy="2074194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739" h="1792068">
                      <a:moveTo>
                        <a:pt x="316739" y="0"/>
                      </a:moveTo>
                      <a:cubicBezTo>
                        <a:pt x="190731" y="231483"/>
                        <a:pt x="-94447" y="324193"/>
                        <a:pt x="31333" y="614192"/>
                      </a:cubicBezTo>
                      <a:cubicBezTo>
                        <a:pt x="157113" y="904191"/>
                        <a:pt x="219826" y="1132205"/>
                        <a:pt x="219424" y="1328518"/>
                      </a:cubicBezTo>
                      <a:cubicBezTo>
                        <a:pt x="219023" y="1524831"/>
                        <a:pt x="126820" y="1683059"/>
                        <a:pt x="28924" y="179206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2" name="Freeform 751"/>
                <p:cNvSpPr/>
                <p:nvPr/>
              </p:nvSpPr>
              <p:spPr>
                <a:xfrm rot="10800000">
                  <a:off x="4797350" y="569609"/>
                  <a:ext cx="178722" cy="208371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  <a:gd name="connsiteX0" fmla="*/ 212871 w 212871"/>
                    <a:gd name="connsiteY0" fmla="*/ 0 h 1805784"/>
                    <a:gd name="connsiteX1" fmla="*/ 2409 w 212871"/>
                    <a:gd name="connsiteY1" fmla="*/ 627908 h 1805784"/>
                    <a:gd name="connsiteX2" fmla="*/ 190500 w 212871"/>
                    <a:gd name="connsiteY2" fmla="*/ 1342234 h 1805784"/>
                    <a:gd name="connsiteX3" fmla="*/ 0 w 212871"/>
                    <a:gd name="connsiteY3" fmla="*/ 1805784 h 1805784"/>
                    <a:gd name="connsiteX0" fmla="*/ 244746 w 244746"/>
                    <a:gd name="connsiteY0" fmla="*/ 0 h 1805784"/>
                    <a:gd name="connsiteX1" fmla="*/ 34284 w 244746"/>
                    <a:gd name="connsiteY1" fmla="*/ 627908 h 1805784"/>
                    <a:gd name="connsiteX2" fmla="*/ 222375 w 244746"/>
                    <a:gd name="connsiteY2" fmla="*/ 1342234 h 1805784"/>
                    <a:gd name="connsiteX3" fmla="*/ 31875 w 244746"/>
                    <a:gd name="connsiteY3" fmla="*/ 1805784 h 1805784"/>
                    <a:gd name="connsiteX0" fmla="*/ 226986 w 226986"/>
                    <a:gd name="connsiteY0" fmla="*/ 0 h 1805784"/>
                    <a:gd name="connsiteX1" fmla="*/ 16524 w 226986"/>
                    <a:gd name="connsiteY1" fmla="*/ 627908 h 1805784"/>
                    <a:gd name="connsiteX2" fmla="*/ 204615 w 226986"/>
                    <a:gd name="connsiteY2" fmla="*/ 1342234 h 1805784"/>
                    <a:gd name="connsiteX3" fmla="*/ 14115 w 226986"/>
                    <a:gd name="connsiteY3" fmla="*/ 1805784 h 1805784"/>
                    <a:gd name="connsiteX0" fmla="*/ 243199 w 243199"/>
                    <a:gd name="connsiteY0" fmla="*/ 0 h 1805784"/>
                    <a:gd name="connsiteX1" fmla="*/ 32737 w 243199"/>
                    <a:gd name="connsiteY1" fmla="*/ 627908 h 1805784"/>
                    <a:gd name="connsiteX2" fmla="*/ 220828 w 243199"/>
                    <a:gd name="connsiteY2" fmla="*/ 1342234 h 1805784"/>
                    <a:gd name="connsiteX3" fmla="*/ 30328 w 243199"/>
                    <a:gd name="connsiteY3" fmla="*/ 1805784 h 1805784"/>
                    <a:gd name="connsiteX0" fmla="*/ 181315 w 190500"/>
                    <a:gd name="connsiteY0" fmla="*/ 0 h 1800298"/>
                    <a:gd name="connsiteX1" fmla="*/ 2409 w 190500"/>
                    <a:gd name="connsiteY1" fmla="*/ 622422 h 1800298"/>
                    <a:gd name="connsiteX2" fmla="*/ 190500 w 190500"/>
                    <a:gd name="connsiteY2" fmla="*/ 1336748 h 1800298"/>
                    <a:gd name="connsiteX3" fmla="*/ 0 w 190500"/>
                    <a:gd name="connsiteY3" fmla="*/ 1800298 h 1800298"/>
                    <a:gd name="connsiteX0" fmla="*/ 198733 w 207919"/>
                    <a:gd name="connsiteY0" fmla="*/ 0 h 1800298"/>
                    <a:gd name="connsiteX1" fmla="*/ 19827 w 207919"/>
                    <a:gd name="connsiteY1" fmla="*/ 622422 h 1800298"/>
                    <a:gd name="connsiteX2" fmla="*/ 207918 w 207919"/>
                    <a:gd name="connsiteY2" fmla="*/ 1336748 h 1800298"/>
                    <a:gd name="connsiteX3" fmla="*/ 17418 w 207919"/>
                    <a:gd name="connsiteY3" fmla="*/ 1800298 h 1800298"/>
                    <a:gd name="connsiteX0" fmla="*/ 211242 w 220428"/>
                    <a:gd name="connsiteY0" fmla="*/ 0 h 1800298"/>
                    <a:gd name="connsiteX1" fmla="*/ 32336 w 220428"/>
                    <a:gd name="connsiteY1" fmla="*/ 622422 h 1800298"/>
                    <a:gd name="connsiteX2" fmla="*/ 220427 w 220428"/>
                    <a:gd name="connsiteY2" fmla="*/ 1336748 h 1800298"/>
                    <a:gd name="connsiteX3" fmla="*/ 29927 w 220428"/>
                    <a:gd name="connsiteY3" fmla="*/ 1800298 h 1800298"/>
                    <a:gd name="connsiteX0" fmla="*/ 212848 w 222034"/>
                    <a:gd name="connsiteY0" fmla="*/ 0 h 1800298"/>
                    <a:gd name="connsiteX1" fmla="*/ 33942 w 222034"/>
                    <a:gd name="connsiteY1" fmla="*/ 622422 h 1800298"/>
                    <a:gd name="connsiteX2" fmla="*/ 222033 w 222034"/>
                    <a:gd name="connsiteY2" fmla="*/ 1336748 h 1800298"/>
                    <a:gd name="connsiteX3" fmla="*/ 31533 w 222034"/>
                    <a:gd name="connsiteY3" fmla="*/ 1800298 h 180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034" h="1800298">
                      <a:moveTo>
                        <a:pt x="212848" y="0"/>
                      </a:moveTo>
                      <a:cubicBezTo>
                        <a:pt x="86840" y="231483"/>
                        <a:pt x="-70144" y="331053"/>
                        <a:pt x="33942" y="622422"/>
                      </a:cubicBezTo>
                      <a:cubicBezTo>
                        <a:pt x="138028" y="913791"/>
                        <a:pt x="222435" y="1140435"/>
                        <a:pt x="222033" y="1336748"/>
                      </a:cubicBezTo>
                      <a:cubicBezTo>
                        <a:pt x="221632" y="1533061"/>
                        <a:pt x="129429" y="1691289"/>
                        <a:pt x="31533" y="180029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714" name="Group 713"/>
              <p:cNvGrpSpPr/>
              <p:nvPr/>
            </p:nvGrpSpPr>
            <p:grpSpPr>
              <a:xfrm flipH="1">
                <a:off x="4812186" y="548156"/>
                <a:ext cx="337923" cy="2304351"/>
                <a:chOff x="4795828" y="569609"/>
                <a:chExt cx="307843" cy="2099231"/>
              </a:xfrm>
            </p:grpSpPr>
            <p:sp>
              <p:nvSpPr>
                <p:cNvPr id="747" name="Freeform 746"/>
                <p:cNvSpPr/>
                <p:nvPr/>
              </p:nvSpPr>
              <p:spPr>
                <a:xfrm rot="10800000">
                  <a:off x="4798974" y="616871"/>
                  <a:ext cx="304697" cy="205196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8537" h="1772866">
                      <a:moveTo>
                        <a:pt x="378537" y="0"/>
                      </a:moveTo>
                      <a:cubicBezTo>
                        <a:pt x="252529" y="231483"/>
                        <a:pt x="-76696" y="316422"/>
                        <a:pt x="30019" y="592247"/>
                      </a:cubicBezTo>
                      <a:cubicBezTo>
                        <a:pt x="136734" y="868072"/>
                        <a:pt x="195503" y="1112546"/>
                        <a:pt x="190500" y="1309316"/>
                      </a:cubicBezTo>
                      <a:cubicBezTo>
                        <a:pt x="185497" y="1506086"/>
                        <a:pt x="97896" y="1663857"/>
                        <a:pt x="0" y="1772866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8" name="Freeform 747"/>
                <p:cNvSpPr/>
                <p:nvPr/>
              </p:nvSpPr>
              <p:spPr>
                <a:xfrm rot="10800000">
                  <a:off x="4795828" y="584317"/>
                  <a:ext cx="254954" cy="2074194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739" h="1792068">
                      <a:moveTo>
                        <a:pt x="316739" y="0"/>
                      </a:moveTo>
                      <a:cubicBezTo>
                        <a:pt x="190731" y="231483"/>
                        <a:pt x="-94447" y="324193"/>
                        <a:pt x="31333" y="614192"/>
                      </a:cubicBezTo>
                      <a:cubicBezTo>
                        <a:pt x="157113" y="904191"/>
                        <a:pt x="219826" y="1132205"/>
                        <a:pt x="219424" y="1328518"/>
                      </a:cubicBezTo>
                      <a:cubicBezTo>
                        <a:pt x="219023" y="1524831"/>
                        <a:pt x="126820" y="1683059"/>
                        <a:pt x="28924" y="179206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9" name="Freeform 748"/>
                <p:cNvSpPr/>
                <p:nvPr/>
              </p:nvSpPr>
              <p:spPr>
                <a:xfrm rot="10800000">
                  <a:off x="4797350" y="569609"/>
                  <a:ext cx="178722" cy="208371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  <a:gd name="connsiteX0" fmla="*/ 212871 w 212871"/>
                    <a:gd name="connsiteY0" fmla="*/ 0 h 1805784"/>
                    <a:gd name="connsiteX1" fmla="*/ 2409 w 212871"/>
                    <a:gd name="connsiteY1" fmla="*/ 627908 h 1805784"/>
                    <a:gd name="connsiteX2" fmla="*/ 190500 w 212871"/>
                    <a:gd name="connsiteY2" fmla="*/ 1342234 h 1805784"/>
                    <a:gd name="connsiteX3" fmla="*/ 0 w 212871"/>
                    <a:gd name="connsiteY3" fmla="*/ 1805784 h 1805784"/>
                    <a:gd name="connsiteX0" fmla="*/ 244746 w 244746"/>
                    <a:gd name="connsiteY0" fmla="*/ 0 h 1805784"/>
                    <a:gd name="connsiteX1" fmla="*/ 34284 w 244746"/>
                    <a:gd name="connsiteY1" fmla="*/ 627908 h 1805784"/>
                    <a:gd name="connsiteX2" fmla="*/ 222375 w 244746"/>
                    <a:gd name="connsiteY2" fmla="*/ 1342234 h 1805784"/>
                    <a:gd name="connsiteX3" fmla="*/ 31875 w 244746"/>
                    <a:gd name="connsiteY3" fmla="*/ 1805784 h 1805784"/>
                    <a:gd name="connsiteX0" fmla="*/ 226986 w 226986"/>
                    <a:gd name="connsiteY0" fmla="*/ 0 h 1805784"/>
                    <a:gd name="connsiteX1" fmla="*/ 16524 w 226986"/>
                    <a:gd name="connsiteY1" fmla="*/ 627908 h 1805784"/>
                    <a:gd name="connsiteX2" fmla="*/ 204615 w 226986"/>
                    <a:gd name="connsiteY2" fmla="*/ 1342234 h 1805784"/>
                    <a:gd name="connsiteX3" fmla="*/ 14115 w 226986"/>
                    <a:gd name="connsiteY3" fmla="*/ 1805784 h 1805784"/>
                    <a:gd name="connsiteX0" fmla="*/ 243199 w 243199"/>
                    <a:gd name="connsiteY0" fmla="*/ 0 h 1805784"/>
                    <a:gd name="connsiteX1" fmla="*/ 32737 w 243199"/>
                    <a:gd name="connsiteY1" fmla="*/ 627908 h 1805784"/>
                    <a:gd name="connsiteX2" fmla="*/ 220828 w 243199"/>
                    <a:gd name="connsiteY2" fmla="*/ 1342234 h 1805784"/>
                    <a:gd name="connsiteX3" fmla="*/ 30328 w 243199"/>
                    <a:gd name="connsiteY3" fmla="*/ 1805784 h 1805784"/>
                    <a:gd name="connsiteX0" fmla="*/ 181315 w 190500"/>
                    <a:gd name="connsiteY0" fmla="*/ 0 h 1800298"/>
                    <a:gd name="connsiteX1" fmla="*/ 2409 w 190500"/>
                    <a:gd name="connsiteY1" fmla="*/ 622422 h 1800298"/>
                    <a:gd name="connsiteX2" fmla="*/ 190500 w 190500"/>
                    <a:gd name="connsiteY2" fmla="*/ 1336748 h 1800298"/>
                    <a:gd name="connsiteX3" fmla="*/ 0 w 190500"/>
                    <a:gd name="connsiteY3" fmla="*/ 1800298 h 1800298"/>
                    <a:gd name="connsiteX0" fmla="*/ 198733 w 207919"/>
                    <a:gd name="connsiteY0" fmla="*/ 0 h 1800298"/>
                    <a:gd name="connsiteX1" fmla="*/ 19827 w 207919"/>
                    <a:gd name="connsiteY1" fmla="*/ 622422 h 1800298"/>
                    <a:gd name="connsiteX2" fmla="*/ 207918 w 207919"/>
                    <a:gd name="connsiteY2" fmla="*/ 1336748 h 1800298"/>
                    <a:gd name="connsiteX3" fmla="*/ 17418 w 207919"/>
                    <a:gd name="connsiteY3" fmla="*/ 1800298 h 1800298"/>
                    <a:gd name="connsiteX0" fmla="*/ 211242 w 220428"/>
                    <a:gd name="connsiteY0" fmla="*/ 0 h 1800298"/>
                    <a:gd name="connsiteX1" fmla="*/ 32336 w 220428"/>
                    <a:gd name="connsiteY1" fmla="*/ 622422 h 1800298"/>
                    <a:gd name="connsiteX2" fmla="*/ 220427 w 220428"/>
                    <a:gd name="connsiteY2" fmla="*/ 1336748 h 1800298"/>
                    <a:gd name="connsiteX3" fmla="*/ 29927 w 220428"/>
                    <a:gd name="connsiteY3" fmla="*/ 1800298 h 1800298"/>
                    <a:gd name="connsiteX0" fmla="*/ 212848 w 222034"/>
                    <a:gd name="connsiteY0" fmla="*/ 0 h 1800298"/>
                    <a:gd name="connsiteX1" fmla="*/ 33942 w 222034"/>
                    <a:gd name="connsiteY1" fmla="*/ 622422 h 1800298"/>
                    <a:gd name="connsiteX2" fmla="*/ 222033 w 222034"/>
                    <a:gd name="connsiteY2" fmla="*/ 1336748 h 1800298"/>
                    <a:gd name="connsiteX3" fmla="*/ 31533 w 222034"/>
                    <a:gd name="connsiteY3" fmla="*/ 1800298 h 180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034" h="1800298">
                      <a:moveTo>
                        <a:pt x="212848" y="0"/>
                      </a:moveTo>
                      <a:cubicBezTo>
                        <a:pt x="86840" y="231483"/>
                        <a:pt x="-70144" y="331053"/>
                        <a:pt x="33942" y="622422"/>
                      </a:cubicBezTo>
                      <a:cubicBezTo>
                        <a:pt x="138028" y="913791"/>
                        <a:pt x="222435" y="1140435"/>
                        <a:pt x="222033" y="1336748"/>
                      </a:cubicBezTo>
                      <a:cubicBezTo>
                        <a:pt x="221632" y="1533061"/>
                        <a:pt x="129429" y="1691289"/>
                        <a:pt x="31533" y="180029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15" name="Freeform 714"/>
              <p:cNvSpPr/>
              <p:nvPr/>
            </p:nvSpPr>
            <p:spPr>
              <a:xfrm>
                <a:off x="5158682" y="2004712"/>
                <a:ext cx="136017" cy="846913"/>
              </a:xfrm>
              <a:custGeom>
                <a:avLst/>
                <a:gdLst>
                  <a:gd name="connsiteX0" fmla="*/ 0 w 136990"/>
                  <a:gd name="connsiteY0" fmla="*/ 752475 h 752475"/>
                  <a:gd name="connsiteX1" fmla="*/ 28575 w 136990"/>
                  <a:gd name="connsiteY1" fmla="*/ 450850 h 752475"/>
                  <a:gd name="connsiteX2" fmla="*/ 136525 w 136990"/>
                  <a:gd name="connsiteY2" fmla="*/ 269875 h 752475"/>
                  <a:gd name="connsiteX3" fmla="*/ 60325 w 136990"/>
                  <a:gd name="connsiteY3" fmla="*/ 0 h 752475"/>
                  <a:gd name="connsiteX0" fmla="*/ 0 w 124290"/>
                  <a:gd name="connsiteY0" fmla="*/ 771525 h 771525"/>
                  <a:gd name="connsiteX1" fmla="*/ 15875 w 124290"/>
                  <a:gd name="connsiteY1" fmla="*/ 450850 h 771525"/>
                  <a:gd name="connsiteX2" fmla="*/ 123825 w 124290"/>
                  <a:gd name="connsiteY2" fmla="*/ 269875 h 771525"/>
                  <a:gd name="connsiteX3" fmla="*/ 47625 w 124290"/>
                  <a:gd name="connsiteY3" fmla="*/ 0 h 771525"/>
                  <a:gd name="connsiteX0" fmla="*/ 0 w 124008"/>
                  <a:gd name="connsiteY0" fmla="*/ 771525 h 771525"/>
                  <a:gd name="connsiteX1" fmla="*/ 28575 w 124008"/>
                  <a:gd name="connsiteY1" fmla="*/ 527050 h 771525"/>
                  <a:gd name="connsiteX2" fmla="*/ 123825 w 124008"/>
                  <a:gd name="connsiteY2" fmla="*/ 269875 h 771525"/>
                  <a:gd name="connsiteX3" fmla="*/ 47625 w 124008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10" h="771525">
                    <a:moveTo>
                      <a:pt x="0" y="771525"/>
                    </a:moveTo>
                    <a:cubicBezTo>
                      <a:pt x="2910" y="660929"/>
                      <a:pt x="-1587" y="674158"/>
                      <a:pt x="34925" y="590550"/>
                    </a:cubicBezTo>
                    <a:cubicBezTo>
                      <a:pt x="71437" y="506942"/>
                      <a:pt x="121708" y="368300"/>
                      <a:pt x="123825" y="269875"/>
                    </a:cubicBezTo>
                    <a:cubicBezTo>
                      <a:pt x="125942" y="171450"/>
                      <a:pt x="88371" y="97366"/>
                      <a:pt x="47625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6" name="Freeform 715"/>
              <p:cNvSpPr/>
              <p:nvPr/>
            </p:nvSpPr>
            <p:spPr>
              <a:xfrm flipH="1">
                <a:off x="5005111" y="2004712"/>
                <a:ext cx="136017" cy="846913"/>
              </a:xfrm>
              <a:custGeom>
                <a:avLst/>
                <a:gdLst>
                  <a:gd name="connsiteX0" fmla="*/ 0 w 136990"/>
                  <a:gd name="connsiteY0" fmla="*/ 752475 h 752475"/>
                  <a:gd name="connsiteX1" fmla="*/ 28575 w 136990"/>
                  <a:gd name="connsiteY1" fmla="*/ 450850 h 752475"/>
                  <a:gd name="connsiteX2" fmla="*/ 136525 w 136990"/>
                  <a:gd name="connsiteY2" fmla="*/ 269875 h 752475"/>
                  <a:gd name="connsiteX3" fmla="*/ 60325 w 136990"/>
                  <a:gd name="connsiteY3" fmla="*/ 0 h 752475"/>
                  <a:gd name="connsiteX0" fmla="*/ 0 w 124290"/>
                  <a:gd name="connsiteY0" fmla="*/ 771525 h 771525"/>
                  <a:gd name="connsiteX1" fmla="*/ 15875 w 124290"/>
                  <a:gd name="connsiteY1" fmla="*/ 450850 h 771525"/>
                  <a:gd name="connsiteX2" fmla="*/ 123825 w 124290"/>
                  <a:gd name="connsiteY2" fmla="*/ 269875 h 771525"/>
                  <a:gd name="connsiteX3" fmla="*/ 47625 w 124290"/>
                  <a:gd name="connsiteY3" fmla="*/ 0 h 771525"/>
                  <a:gd name="connsiteX0" fmla="*/ 0 w 124008"/>
                  <a:gd name="connsiteY0" fmla="*/ 771525 h 771525"/>
                  <a:gd name="connsiteX1" fmla="*/ 28575 w 124008"/>
                  <a:gd name="connsiteY1" fmla="*/ 527050 h 771525"/>
                  <a:gd name="connsiteX2" fmla="*/ 123825 w 124008"/>
                  <a:gd name="connsiteY2" fmla="*/ 269875 h 771525"/>
                  <a:gd name="connsiteX3" fmla="*/ 47625 w 124008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10" h="771525">
                    <a:moveTo>
                      <a:pt x="0" y="771525"/>
                    </a:moveTo>
                    <a:cubicBezTo>
                      <a:pt x="2910" y="660929"/>
                      <a:pt x="-1587" y="674158"/>
                      <a:pt x="34925" y="590550"/>
                    </a:cubicBezTo>
                    <a:cubicBezTo>
                      <a:pt x="71437" y="506942"/>
                      <a:pt x="121708" y="368300"/>
                      <a:pt x="123825" y="269875"/>
                    </a:cubicBezTo>
                    <a:cubicBezTo>
                      <a:pt x="125942" y="171450"/>
                      <a:pt x="88371" y="97366"/>
                      <a:pt x="47625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717" name="Straight Connector 716"/>
              <p:cNvCxnSpPr/>
              <p:nvPr/>
            </p:nvCxnSpPr>
            <p:spPr>
              <a:xfrm flipV="1">
                <a:off x="5148099" y="1761475"/>
                <a:ext cx="0" cy="1093635"/>
              </a:xfrm>
              <a:prstGeom prst="line">
                <a:avLst/>
              </a:prstGeom>
              <a:noFill/>
              <a:ln w="12700" cap="flat" cmpd="sng" algn="ctr">
                <a:gradFill>
                  <a:gsLst>
                    <a:gs pos="9400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</p:cxnSp>
          <p:sp>
            <p:nvSpPr>
              <p:cNvPr id="718" name="Freeform 717"/>
              <p:cNvSpPr/>
              <p:nvPr/>
            </p:nvSpPr>
            <p:spPr>
              <a:xfrm>
                <a:off x="5496587" y="783045"/>
                <a:ext cx="797357" cy="1566201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  <a:gd name="connsiteX0" fmla="*/ 0 w 804781"/>
                  <a:gd name="connsiteY0" fmla="*/ 3464575 h 3467824"/>
                  <a:gd name="connsiteX1" fmla="*/ 228600 w 804781"/>
                  <a:gd name="connsiteY1" fmla="*/ 3340750 h 3467824"/>
                  <a:gd name="connsiteX2" fmla="*/ 261937 w 804781"/>
                  <a:gd name="connsiteY2" fmla="*/ 2726388 h 3467824"/>
                  <a:gd name="connsiteX3" fmla="*/ 404812 w 804781"/>
                  <a:gd name="connsiteY3" fmla="*/ 2478738 h 3467824"/>
                  <a:gd name="connsiteX4" fmla="*/ 414337 w 804781"/>
                  <a:gd name="connsiteY4" fmla="*/ 2202513 h 3467824"/>
                  <a:gd name="connsiteX5" fmla="*/ 509587 w 804781"/>
                  <a:gd name="connsiteY5" fmla="*/ 1878663 h 3467824"/>
                  <a:gd name="connsiteX6" fmla="*/ 779174 w 804781"/>
                  <a:gd name="connsiteY6" fmla="*/ 1434163 h 3467824"/>
                  <a:gd name="connsiteX7" fmla="*/ 156225 w 804781"/>
                  <a:gd name="connsiteY7" fmla="*/ 0 h 3467824"/>
                  <a:gd name="connsiteX0" fmla="*/ 0 w 849795"/>
                  <a:gd name="connsiteY0" fmla="*/ 3464575 h 3467824"/>
                  <a:gd name="connsiteX1" fmla="*/ 228600 w 849795"/>
                  <a:gd name="connsiteY1" fmla="*/ 3340750 h 3467824"/>
                  <a:gd name="connsiteX2" fmla="*/ 261937 w 849795"/>
                  <a:gd name="connsiteY2" fmla="*/ 2726388 h 3467824"/>
                  <a:gd name="connsiteX3" fmla="*/ 404812 w 849795"/>
                  <a:gd name="connsiteY3" fmla="*/ 2478738 h 3467824"/>
                  <a:gd name="connsiteX4" fmla="*/ 414337 w 849795"/>
                  <a:gd name="connsiteY4" fmla="*/ 2202513 h 3467824"/>
                  <a:gd name="connsiteX5" fmla="*/ 509587 w 849795"/>
                  <a:gd name="connsiteY5" fmla="*/ 1878663 h 3467824"/>
                  <a:gd name="connsiteX6" fmla="*/ 779174 w 849795"/>
                  <a:gd name="connsiteY6" fmla="*/ 1434163 h 3467824"/>
                  <a:gd name="connsiteX7" fmla="*/ 156225 w 849795"/>
                  <a:gd name="connsiteY7" fmla="*/ 0 h 3467824"/>
                  <a:gd name="connsiteX0" fmla="*/ 0 w 936807"/>
                  <a:gd name="connsiteY0" fmla="*/ 3464575 h 3467824"/>
                  <a:gd name="connsiteX1" fmla="*/ 228600 w 936807"/>
                  <a:gd name="connsiteY1" fmla="*/ 3340750 h 3467824"/>
                  <a:gd name="connsiteX2" fmla="*/ 261937 w 936807"/>
                  <a:gd name="connsiteY2" fmla="*/ 2726388 h 3467824"/>
                  <a:gd name="connsiteX3" fmla="*/ 404812 w 936807"/>
                  <a:gd name="connsiteY3" fmla="*/ 2478738 h 3467824"/>
                  <a:gd name="connsiteX4" fmla="*/ 414337 w 936807"/>
                  <a:gd name="connsiteY4" fmla="*/ 2202513 h 3467824"/>
                  <a:gd name="connsiteX5" fmla="*/ 509587 w 936807"/>
                  <a:gd name="connsiteY5" fmla="*/ 1878663 h 3467824"/>
                  <a:gd name="connsiteX6" fmla="*/ 779174 w 936807"/>
                  <a:gd name="connsiteY6" fmla="*/ 1434163 h 3467824"/>
                  <a:gd name="connsiteX7" fmla="*/ 156225 w 936807"/>
                  <a:gd name="connsiteY7" fmla="*/ 0 h 3467824"/>
                  <a:gd name="connsiteX0" fmla="*/ 0 w 898890"/>
                  <a:gd name="connsiteY0" fmla="*/ 3464575 h 3467824"/>
                  <a:gd name="connsiteX1" fmla="*/ 228600 w 898890"/>
                  <a:gd name="connsiteY1" fmla="*/ 3340750 h 3467824"/>
                  <a:gd name="connsiteX2" fmla="*/ 261937 w 898890"/>
                  <a:gd name="connsiteY2" fmla="*/ 2726388 h 3467824"/>
                  <a:gd name="connsiteX3" fmla="*/ 404812 w 898890"/>
                  <a:gd name="connsiteY3" fmla="*/ 2478738 h 3467824"/>
                  <a:gd name="connsiteX4" fmla="*/ 414337 w 898890"/>
                  <a:gd name="connsiteY4" fmla="*/ 2202513 h 3467824"/>
                  <a:gd name="connsiteX5" fmla="*/ 509587 w 898890"/>
                  <a:gd name="connsiteY5" fmla="*/ 1878663 h 3467824"/>
                  <a:gd name="connsiteX6" fmla="*/ 779174 w 898890"/>
                  <a:gd name="connsiteY6" fmla="*/ 1434163 h 3467824"/>
                  <a:gd name="connsiteX7" fmla="*/ 156225 w 898890"/>
                  <a:gd name="connsiteY7" fmla="*/ 0 h 3467824"/>
                  <a:gd name="connsiteX0" fmla="*/ 0 w 898021"/>
                  <a:gd name="connsiteY0" fmla="*/ 3464575 h 3467824"/>
                  <a:gd name="connsiteX1" fmla="*/ 228600 w 898021"/>
                  <a:gd name="connsiteY1" fmla="*/ 3340750 h 3467824"/>
                  <a:gd name="connsiteX2" fmla="*/ 261937 w 898021"/>
                  <a:gd name="connsiteY2" fmla="*/ 2726388 h 3467824"/>
                  <a:gd name="connsiteX3" fmla="*/ 404812 w 898021"/>
                  <a:gd name="connsiteY3" fmla="*/ 2478738 h 3467824"/>
                  <a:gd name="connsiteX4" fmla="*/ 414337 w 898021"/>
                  <a:gd name="connsiteY4" fmla="*/ 2202513 h 3467824"/>
                  <a:gd name="connsiteX5" fmla="*/ 509587 w 898021"/>
                  <a:gd name="connsiteY5" fmla="*/ 1878663 h 3467824"/>
                  <a:gd name="connsiteX6" fmla="*/ 779174 w 898021"/>
                  <a:gd name="connsiteY6" fmla="*/ 1434163 h 3467824"/>
                  <a:gd name="connsiteX7" fmla="*/ 156225 w 898021"/>
                  <a:gd name="connsiteY7" fmla="*/ 0 h 3467824"/>
                  <a:gd name="connsiteX0" fmla="*/ 0 w 887090"/>
                  <a:gd name="connsiteY0" fmla="*/ 3464575 h 3467824"/>
                  <a:gd name="connsiteX1" fmla="*/ 228600 w 887090"/>
                  <a:gd name="connsiteY1" fmla="*/ 3340750 h 3467824"/>
                  <a:gd name="connsiteX2" fmla="*/ 261937 w 887090"/>
                  <a:gd name="connsiteY2" fmla="*/ 2726388 h 3467824"/>
                  <a:gd name="connsiteX3" fmla="*/ 404812 w 887090"/>
                  <a:gd name="connsiteY3" fmla="*/ 2478738 h 3467824"/>
                  <a:gd name="connsiteX4" fmla="*/ 414337 w 887090"/>
                  <a:gd name="connsiteY4" fmla="*/ 2202513 h 3467824"/>
                  <a:gd name="connsiteX5" fmla="*/ 509587 w 887090"/>
                  <a:gd name="connsiteY5" fmla="*/ 1878663 h 3467824"/>
                  <a:gd name="connsiteX6" fmla="*/ 760206 w 887090"/>
                  <a:gd name="connsiteY6" fmla="*/ 1429948 h 3467824"/>
                  <a:gd name="connsiteX7" fmla="*/ 156225 w 887090"/>
                  <a:gd name="connsiteY7" fmla="*/ 0 h 3467824"/>
                  <a:gd name="connsiteX0" fmla="*/ 72375 w 730865"/>
                  <a:gd name="connsiteY0" fmla="*/ 3340750 h 3340750"/>
                  <a:gd name="connsiteX1" fmla="*/ 105712 w 730865"/>
                  <a:gd name="connsiteY1" fmla="*/ 2726388 h 3340750"/>
                  <a:gd name="connsiteX2" fmla="*/ 248587 w 730865"/>
                  <a:gd name="connsiteY2" fmla="*/ 2478738 h 3340750"/>
                  <a:gd name="connsiteX3" fmla="*/ 258112 w 730865"/>
                  <a:gd name="connsiteY3" fmla="*/ 2202513 h 3340750"/>
                  <a:gd name="connsiteX4" fmla="*/ 353362 w 730865"/>
                  <a:gd name="connsiteY4" fmla="*/ 1878663 h 3340750"/>
                  <a:gd name="connsiteX5" fmla="*/ 603981 w 730865"/>
                  <a:gd name="connsiteY5" fmla="*/ 1429948 h 3340750"/>
                  <a:gd name="connsiteX6" fmla="*/ 0 w 730865"/>
                  <a:gd name="connsiteY6" fmla="*/ 0 h 3340750"/>
                  <a:gd name="connsiteX0" fmla="*/ 105712 w 730865"/>
                  <a:gd name="connsiteY0" fmla="*/ 2726388 h 2726388"/>
                  <a:gd name="connsiteX1" fmla="*/ 248587 w 730865"/>
                  <a:gd name="connsiteY1" fmla="*/ 2478738 h 2726388"/>
                  <a:gd name="connsiteX2" fmla="*/ 258112 w 730865"/>
                  <a:gd name="connsiteY2" fmla="*/ 2202513 h 2726388"/>
                  <a:gd name="connsiteX3" fmla="*/ 353362 w 730865"/>
                  <a:gd name="connsiteY3" fmla="*/ 1878663 h 2726388"/>
                  <a:gd name="connsiteX4" fmla="*/ 603981 w 730865"/>
                  <a:gd name="connsiteY4" fmla="*/ 1429948 h 2726388"/>
                  <a:gd name="connsiteX5" fmla="*/ 0 w 730865"/>
                  <a:gd name="connsiteY5" fmla="*/ 0 h 2726388"/>
                  <a:gd name="connsiteX0" fmla="*/ 248587 w 730865"/>
                  <a:gd name="connsiteY0" fmla="*/ 2478738 h 2478738"/>
                  <a:gd name="connsiteX1" fmla="*/ 258112 w 730865"/>
                  <a:gd name="connsiteY1" fmla="*/ 2202513 h 2478738"/>
                  <a:gd name="connsiteX2" fmla="*/ 353362 w 730865"/>
                  <a:gd name="connsiteY2" fmla="*/ 1878663 h 2478738"/>
                  <a:gd name="connsiteX3" fmla="*/ 603981 w 730865"/>
                  <a:gd name="connsiteY3" fmla="*/ 1429948 h 2478738"/>
                  <a:gd name="connsiteX4" fmla="*/ 0 w 730865"/>
                  <a:gd name="connsiteY4" fmla="*/ 0 h 2478738"/>
                  <a:gd name="connsiteX0" fmla="*/ 258112 w 730865"/>
                  <a:gd name="connsiteY0" fmla="*/ 2202513 h 2202513"/>
                  <a:gd name="connsiteX1" fmla="*/ 353362 w 730865"/>
                  <a:gd name="connsiteY1" fmla="*/ 1878663 h 2202513"/>
                  <a:gd name="connsiteX2" fmla="*/ 603981 w 730865"/>
                  <a:gd name="connsiteY2" fmla="*/ 1429948 h 2202513"/>
                  <a:gd name="connsiteX3" fmla="*/ 0 w 730865"/>
                  <a:gd name="connsiteY3" fmla="*/ 0 h 2202513"/>
                  <a:gd name="connsiteX0" fmla="*/ 353362 w 730865"/>
                  <a:gd name="connsiteY0" fmla="*/ 1878663 h 1878663"/>
                  <a:gd name="connsiteX1" fmla="*/ 603981 w 730865"/>
                  <a:gd name="connsiteY1" fmla="*/ 1429948 h 1878663"/>
                  <a:gd name="connsiteX2" fmla="*/ 0 w 730865"/>
                  <a:gd name="connsiteY2" fmla="*/ 0 h 1878663"/>
                  <a:gd name="connsiteX0" fmla="*/ 603981 w 730865"/>
                  <a:gd name="connsiteY0" fmla="*/ 1429948 h 1429948"/>
                  <a:gd name="connsiteX1" fmla="*/ 0 w 730865"/>
                  <a:gd name="connsiteY1" fmla="*/ 0 h 1429948"/>
                  <a:gd name="connsiteX0" fmla="*/ 619788 w 739955"/>
                  <a:gd name="connsiteY0" fmla="*/ 1426787 h 1426787"/>
                  <a:gd name="connsiteX1" fmla="*/ 0 w 739955"/>
                  <a:gd name="connsiteY1" fmla="*/ 0 h 1426787"/>
                  <a:gd name="connsiteX0" fmla="*/ 619788 w 726381"/>
                  <a:gd name="connsiteY0" fmla="*/ 1426787 h 1426787"/>
                  <a:gd name="connsiteX1" fmla="*/ 0 w 726381"/>
                  <a:gd name="connsiteY1" fmla="*/ 0 h 142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381" h="1426787">
                    <a:moveTo>
                      <a:pt x="619788" y="1426787"/>
                    </a:moveTo>
                    <a:cubicBezTo>
                      <a:pt x="646991" y="1334871"/>
                      <a:pt x="1074571" y="558815"/>
                      <a:pt x="0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9" name="Freeform 718"/>
              <p:cNvSpPr/>
              <p:nvPr/>
            </p:nvSpPr>
            <p:spPr>
              <a:xfrm flipH="1">
                <a:off x="3991813" y="783045"/>
                <a:ext cx="797357" cy="1566201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  <a:gd name="connsiteX0" fmla="*/ 0 w 804781"/>
                  <a:gd name="connsiteY0" fmla="*/ 3464575 h 3467824"/>
                  <a:gd name="connsiteX1" fmla="*/ 228600 w 804781"/>
                  <a:gd name="connsiteY1" fmla="*/ 3340750 h 3467824"/>
                  <a:gd name="connsiteX2" fmla="*/ 261937 w 804781"/>
                  <a:gd name="connsiteY2" fmla="*/ 2726388 h 3467824"/>
                  <a:gd name="connsiteX3" fmla="*/ 404812 w 804781"/>
                  <a:gd name="connsiteY3" fmla="*/ 2478738 h 3467824"/>
                  <a:gd name="connsiteX4" fmla="*/ 414337 w 804781"/>
                  <a:gd name="connsiteY4" fmla="*/ 2202513 h 3467824"/>
                  <a:gd name="connsiteX5" fmla="*/ 509587 w 804781"/>
                  <a:gd name="connsiteY5" fmla="*/ 1878663 h 3467824"/>
                  <a:gd name="connsiteX6" fmla="*/ 779174 w 804781"/>
                  <a:gd name="connsiteY6" fmla="*/ 1434163 h 3467824"/>
                  <a:gd name="connsiteX7" fmla="*/ 156225 w 804781"/>
                  <a:gd name="connsiteY7" fmla="*/ 0 h 3467824"/>
                  <a:gd name="connsiteX0" fmla="*/ 0 w 849795"/>
                  <a:gd name="connsiteY0" fmla="*/ 3464575 h 3467824"/>
                  <a:gd name="connsiteX1" fmla="*/ 228600 w 849795"/>
                  <a:gd name="connsiteY1" fmla="*/ 3340750 h 3467824"/>
                  <a:gd name="connsiteX2" fmla="*/ 261937 w 849795"/>
                  <a:gd name="connsiteY2" fmla="*/ 2726388 h 3467824"/>
                  <a:gd name="connsiteX3" fmla="*/ 404812 w 849795"/>
                  <a:gd name="connsiteY3" fmla="*/ 2478738 h 3467824"/>
                  <a:gd name="connsiteX4" fmla="*/ 414337 w 849795"/>
                  <a:gd name="connsiteY4" fmla="*/ 2202513 h 3467824"/>
                  <a:gd name="connsiteX5" fmla="*/ 509587 w 849795"/>
                  <a:gd name="connsiteY5" fmla="*/ 1878663 h 3467824"/>
                  <a:gd name="connsiteX6" fmla="*/ 779174 w 849795"/>
                  <a:gd name="connsiteY6" fmla="*/ 1434163 h 3467824"/>
                  <a:gd name="connsiteX7" fmla="*/ 156225 w 849795"/>
                  <a:gd name="connsiteY7" fmla="*/ 0 h 3467824"/>
                  <a:gd name="connsiteX0" fmla="*/ 0 w 936807"/>
                  <a:gd name="connsiteY0" fmla="*/ 3464575 h 3467824"/>
                  <a:gd name="connsiteX1" fmla="*/ 228600 w 936807"/>
                  <a:gd name="connsiteY1" fmla="*/ 3340750 h 3467824"/>
                  <a:gd name="connsiteX2" fmla="*/ 261937 w 936807"/>
                  <a:gd name="connsiteY2" fmla="*/ 2726388 h 3467824"/>
                  <a:gd name="connsiteX3" fmla="*/ 404812 w 936807"/>
                  <a:gd name="connsiteY3" fmla="*/ 2478738 h 3467824"/>
                  <a:gd name="connsiteX4" fmla="*/ 414337 w 936807"/>
                  <a:gd name="connsiteY4" fmla="*/ 2202513 h 3467824"/>
                  <a:gd name="connsiteX5" fmla="*/ 509587 w 936807"/>
                  <a:gd name="connsiteY5" fmla="*/ 1878663 h 3467824"/>
                  <a:gd name="connsiteX6" fmla="*/ 779174 w 936807"/>
                  <a:gd name="connsiteY6" fmla="*/ 1434163 h 3467824"/>
                  <a:gd name="connsiteX7" fmla="*/ 156225 w 936807"/>
                  <a:gd name="connsiteY7" fmla="*/ 0 h 3467824"/>
                  <a:gd name="connsiteX0" fmla="*/ 0 w 898890"/>
                  <a:gd name="connsiteY0" fmla="*/ 3464575 h 3467824"/>
                  <a:gd name="connsiteX1" fmla="*/ 228600 w 898890"/>
                  <a:gd name="connsiteY1" fmla="*/ 3340750 h 3467824"/>
                  <a:gd name="connsiteX2" fmla="*/ 261937 w 898890"/>
                  <a:gd name="connsiteY2" fmla="*/ 2726388 h 3467824"/>
                  <a:gd name="connsiteX3" fmla="*/ 404812 w 898890"/>
                  <a:gd name="connsiteY3" fmla="*/ 2478738 h 3467824"/>
                  <a:gd name="connsiteX4" fmla="*/ 414337 w 898890"/>
                  <a:gd name="connsiteY4" fmla="*/ 2202513 h 3467824"/>
                  <a:gd name="connsiteX5" fmla="*/ 509587 w 898890"/>
                  <a:gd name="connsiteY5" fmla="*/ 1878663 h 3467824"/>
                  <a:gd name="connsiteX6" fmla="*/ 779174 w 898890"/>
                  <a:gd name="connsiteY6" fmla="*/ 1434163 h 3467824"/>
                  <a:gd name="connsiteX7" fmla="*/ 156225 w 898890"/>
                  <a:gd name="connsiteY7" fmla="*/ 0 h 3467824"/>
                  <a:gd name="connsiteX0" fmla="*/ 0 w 898021"/>
                  <a:gd name="connsiteY0" fmla="*/ 3464575 h 3467824"/>
                  <a:gd name="connsiteX1" fmla="*/ 228600 w 898021"/>
                  <a:gd name="connsiteY1" fmla="*/ 3340750 h 3467824"/>
                  <a:gd name="connsiteX2" fmla="*/ 261937 w 898021"/>
                  <a:gd name="connsiteY2" fmla="*/ 2726388 h 3467824"/>
                  <a:gd name="connsiteX3" fmla="*/ 404812 w 898021"/>
                  <a:gd name="connsiteY3" fmla="*/ 2478738 h 3467824"/>
                  <a:gd name="connsiteX4" fmla="*/ 414337 w 898021"/>
                  <a:gd name="connsiteY4" fmla="*/ 2202513 h 3467824"/>
                  <a:gd name="connsiteX5" fmla="*/ 509587 w 898021"/>
                  <a:gd name="connsiteY5" fmla="*/ 1878663 h 3467824"/>
                  <a:gd name="connsiteX6" fmla="*/ 779174 w 898021"/>
                  <a:gd name="connsiteY6" fmla="*/ 1434163 h 3467824"/>
                  <a:gd name="connsiteX7" fmla="*/ 156225 w 898021"/>
                  <a:gd name="connsiteY7" fmla="*/ 0 h 3467824"/>
                  <a:gd name="connsiteX0" fmla="*/ 0 w 887090"/>
                  <a:gd name="connsiteY0" fmla="*/ 3464575 h 3467824"/>
                  <a:gd name="connsiteX1" fmla="*/ 228600 w 887090"/>
                  <a:gd name="connsiteY1" fmla="*/ 3340750 h 3467824"/>
                  <a:gd name="connsiteX2" fmla="*/ 261937 w 887090"/>
                  <a:gd name="connsiteY2" fmla="*/ 2726388 h 3467824"/>
                  <a:gd name="connsiteX3" fmla="*/ 404812 w 887090"/>
                  <a:gd name="connsiteY3" fmla="*/ 2478738 h 3467824"/>
                  <a:gd name="connsiteX4" fmla="*/ 414337 w 887090"/>
                  <a:gd name="connsiteY4" fmla="*/ 2202513 h 3467824"/>
                  <a:gd name="connsiteX5" fmla="*/ 509587 w 887090"/>
                  <a:gd name="connsiteY5" fmla="*/ 1878663 h 3467824"/>
                  <a:gd name="connsiteX6" fmla="*/ 760206 w 887090"/>
                  <a:gd name="connsiteY6" fmla="*/ 1429948 h 3467824"/>
                  <a:gd name="connsiteX7" fmla="*/ 156225 w 887090"/>
                  <a:gd name="connsiteY7" fmla="*/ 0 h 3467824"/>
                  <a:gd name="connsiteX0" fmla="*/ 72375 w 730865"/>
                  <a:gd name="connsiteY0" fmla="*/ 3340750 h 3340750"/>
                  <a:gd name="connsiteX1" fmla="*/ 105712 w 730865"/>
                  <a:gd name="connsiteY1" fmla="*/ 2726388 h 3340750"/>
                  <a:gd name="connsiteX2" fmla="*/ 248587 w 730865"/>
                  <a:gd name="connsiteY2" fmla="*/ 2478738 h 3340750"/>
                  <a:gd name="connsiteX3" fmla="*/ 258112 w 730865"/>
                  <a:gd name="connsiteY3" fmla="*/ 2202513 h 3340750"/>
                  <a:gd name="connsiteX4" fmla="*/ 353362 w 730865"/>
                  <a:gd name="connsiteY4" fmla="*/ 1878663 h 3340750"/>
                  <a:gd name="connsiteX5" fmla="*/ 603981 w 730865"/>
                  <a:gd name="connsiteY5" fmla="*/ 1429948 h 3340750"/>
                  <a:gd name="connsiteX6" fmla="*/ 0 w 730865"/>
                  <a:gd name="connsiteY6" fmla="*/ 0 h 3340750"/>
                  <a:gd name="connsiteX0" fmla="*/ 105712 w 730865"/>
                  <a:gd name="connsiteY0" fmla="*/ 2726388 h 2726388"/>
                  <a:gd name="connsiteX1" fmla="*/ 248587 w 730865"/>
                  <a:gd name="connsiteY1" fmla="*/ 2478738 h 2726388"/>
                  <a:gd name="connsiteX2" fmla="*/ 258112 w 730865"/>
                  <a:gd name="connsiteY2" fmla="*/ 2202513 h 2726388"/>
                  <a:gd name="connsiteX3" fmla="*/ 353362 w 730865"/>
                  <a:gd name="connsiteY3" fmla="*/ 1878663 h 2726388"/>
                  <a:gd name="connsiteX4" fmla="*/ 603981 w 730865"/>
                  <a:gd name="connsiteY4" fmla="*/ 1429948 h 2726388"/>
                  <a:gd name="connsiteX5" fmla="*/ 0 w 730865"/>
                  <a:gd name="connsiteY5" fmla="*/ 0 h 2726388"/>
                  <a:gd name="connsiteX0" fmla="*/ 248587 w 730865"/>
                  <a:gd name="connsiteY0" fmla="*/ 2478738 h 2478738"/>
                  <a:gd name="connsiteX1" fmla="*/ 258112 w 730865"/>
                  <a:gd name="connsiteY1" fmla="*/ 2202513 h 2478738"/>
                  <a:gd name="connsiteX2" fmla="*/ 353362 w 730865"/>
                  <a:gd name="connsiteY2" fmla="*/ 1878663 h 2478738"/>
                  <a:gd name="connsiteX3" fmla="*/ 603981 w 730865"/>
                  <a:gd name="connsiteY3" fmla="*/ 1429948 h 2478738"/>
                  <a:gd name="connsiteX4" fmla="*/ 0 w 730865"/>
                  <a:gd name="connsiteY4" fmla="*/ 0 h 2478738"/>
                  <a:gd name="connsiteX0" fmla="*/ 258112 w 730865"/>
                  <a:gd name="connsiteY0" fmla="*/ 2202513 h 2202513"/>
                  <a:gd name="connsiteX1" fmla="*/ 353362 w 730865"/>
                  <a:gd name="connsiteY1" fmla="*/ 1878663 h 2202513"/>
                  <a:gd name="connsiteX2" fmla="*/ 603981 w 730865"/>
                  <a:gd name="connsiteY2" fmla="*/ 1429948 h 2202513"/>
                  <a:gd name="connsiteX3" fmla="*/ 0 w 730865"/>
                  <a:gd name="connsiteY3" fmla="*/ 0 h 2202513"/>
                  <a:gd name="connsiteX0" fmla="*/ 353362 w 730865"/>
                  <a:gd name="connsiteY0" fmla="*/ 1878663 h 1878663"/>
                  <a:gd name="connsiteX1" fmla="*/ 603981 w 730865"/>
                  <a:gd name="connsiteY1" fmla="*/ 1429948 h 1878663"/>
                  <a:gd name="connsiteX2" fmla="*/ 0 w 730865"/>
                  <a:gd name="connsiteY2" fmla="*/ 0 h 1878663"/>
                  <a:gd name="connsiteX0" fmla="*/ 603981 w 730865"/>
                  <a:gd name="connsiteY0" fmla="*/ 1429948 h 1429948"/>
                  <a:gd name="connsiteX1" fmla="*/ 0 w 730865"/>
                  <a:gd name="connsiteY1" fmla="*/ 0 h 1429948"/>
                  <a:gd name="connsiteX0" fmla="*/ 619788 w 739955"/>
                  <a:gd name="connsiteY0" fmla="*/ 1426787 h 1426787"/>
                  <a:gd name="connsiteX1" fmla="*/ 0 w 739955"/>
                  <a:gd name="connsiteY1" fmla="*/ 0 h 1426787"/>
                  <a:gd name="connsiteX0" fmla="*/ 619788 w 726381"/>
                  <a:gd name="connsiteY0" fmla="*/ 1426787 h 1426787"/>
                  <a:gd name="connsiteX1" fmla="*/ 0 w 726381"/>
                  <a:gd name="connsiteY1" fmla="*/ 0 h 142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381" h="1426787">
                    <a:moveTo>
                      <a:pt x="619788" y="1426787"/>
                    </a:moveTo>
                    <a:cubicBezTo>
                      <a:pt x="646991" y="1334871"/>
                      <a:pt x="1074571" y="558815"/>
                      <a:pt x="0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0" name="Freeform 2191"/>
              <p:cNvSpPr>
                <a:spLocks noEditPoints="1"/>
              </p:cNvSpPr>
              <p:nvPr/>
            </p:nvSpPr>
            <p:spPr bwMode="auto">
              <a:xfrm>
                <a:off x="4709514" y="3849122"/>
                <a:ext cx="316093" cy="31744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1" name="Freeform 2191"/>
              <p:cNvSpPr>
                <a:spLocks noEditPoints="1"/>
              </p:cNvSpPr>
              <p:nvPr/>
            </p:nvSpPr>
            <p:spPr bwMode="auto">
              <a:xfrm>
                <a:off x="4863905" y="3575785"/>
                <a:ext cx="323586" cy="32497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2" name="Freeform 2191"/>
              <p:cNvSpPr>
                <a:spLocks noEditPoints="1"/>
              </p:cNvSpPr>
              <p:nvPr/>
            </p:nvSpPr>
            <p:spPr bwMode="auto">
              <a:xfrm>
                <a:off x="4956412" y="3977835"/>
                <a:ext cx="408107" cy="409855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3" name="Freeform 2191"/>
              <p:cNvSpPr>
                <a:spLocks noEditPoints="1"/>
              </p:cNvSpPr>
              <p:nvPr/>
            </p:nvSpPr>
            <p:spPr bwMode="auto">
              <a:xfrm>
                <a:off x="5022845" y="390382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4" name="Freeform 2191"/>
              <p:cNvSpPr>
                <a:spLocks noEditPoints="1"/>
              </p:cNvSpPr>
              <p:nvPr/>
            </p:nvSpPr>
            <p:spPr bwMode="auto">
              <a:xfrm>
                <a:off x="5109867" y="3873427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5" name="Freeform 2191"/>
              <p:cNvSpPr>
                <a:spLocks noEditPoints="1"/>
              </p:cNvSpPr>
              <p:nvPr/>
            </p:nvSpPr>
            <p:spPr bwMode="auto">
              <a:xfrm>
                <a:off x="5181089" y="376728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6" name="Freeform 2191"/>
              <p:cNvSpPr>
                <a:spLocks noEditPoints="1"/>
              </p:cNvSpPr>
              <p:nvPr/>
            </p:nvSpPr>
            <p:spPr bwMode="auto">
              <a:xfrm>
                <a:off x="5203179" y="3935252"/>
                <a:ext cx="84799" cy="8516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7" name="Freeform 2191"/>
              <p:cNvSpPr>
                <a:spLocks noEditPoints="1"/>
              </p:cNvSpPr>
              <p:nvPr/>
            </p:nvSpPr>
            <p:spPr bwMode="auto">
              <a:xfrm>
                <a:off x="5304081" y="3813791"/>
                <a:ext cx="316093" cy="31744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8" name="Freeform 2191"/>
              <p:cNvSpPr>
                <a:spLocks noEditPoints="1"/>
              </p:cNvSpPr>
              <p:nvPr/>
            </p:nvSpPr>
            <p:spPr bwMode="auto">
              <a:xfrm>
                <a:off x="5199962" y="3567305"/>
                <a:ext cx="208244" cy="20913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9" name="Freeform 2191"/>
              <p:cNvSpPr>
                <a:spLocks noEditPoints="1"/>
              </p:cNvSpPr>
              <p:nvPr/>
            </p:nvSpPr>
            <p:spPr bwMode="auto">
              <a:xfrm>
                <a:off x="5337080" y="3752655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0" name="Freeform 2191"/>
              <p:cNvSpPr>
                <a:spLocks noEditPoints="1"/>
              </p:cNvSpPr>
              <p:nvPr/>
            </p:nvSpPr>
            <p:spPr bwMode="auto">
              <a:xfrm>
                <a:off x="5403330" y="3643583"/>
                <a:ext cx="130427" cy="13098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1" name="Freeform 2191"/>
              <p:cNvSpPr>
                <a:spLocks noEditPoints="1"/>
              </p:cNvSpPr>
              <p:nvPr/>
            </p:nvSpPr>
            <p:spPr bwMode="auto">
              <a:xfrm>
                <a:off x="5341694" y="4138968"/>
                <a:ext cx="270161" cy="27131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2" name="Freeform 2191"/>
              <p:cNvSpPr>
                <a:spLocks noEditPoints="1"/>
              </p:cNvSpPr>
              <p:nvPr/>
            </p:nvSpPr>
            <p:spPr bwMode="auto">
              <a:xfrm>
                <a:off x="4746509" y="4180485"/>
                <a:ext cx="233673" cy="23467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3" name="Freeform 2191"/>
              <p:cNvSpPr>
                <a:spLocks noEditPoints="1"/>
              </p:cNvSpPr>
              <p:nvPr/>
            </p:nvSpPr>
            <p:spPr bwMode="auto">
              <a:xfrm>
                <a:off x="5181089" y="435783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4" name="Freeform 2191"/>
              <p:cNvSpPr>
                <a:spLocks noEditPoints="1"/>
              </p:cNvSpPr>
              <p:nvPr/>
            </p:nvSpPr>
            <p:spPr bwMode="auto">
              <a:xfrm>
                <a:off x="4976144" y="435783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5" name="Freeform 2191"/>
              <p:cNvSpPr>
                <a:spLocks noEditPoints="1"/>
              </p:cNvSpPr>
              <p:nvPr/>
            </p:nvSpPr>
            <p:spPr bwMode="auto">
              <a:xfrm>
                <a:off x="5475347" y="3478470"/>
                <a:ext cx="200210" cy="2010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6" name="Freeform 2191"/>
              <p:cNvSpPr>
                <a:spLocks noEditPoints="1"/>
              </p:cNvSpPr>
              <p:nvPr/>
            </p:nvSpPr>
            <p:spPr bwMode="auto">
              <a:xfrm>
                <a:off x="5390186" y="355856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7" name="Freeform 2191"/>
              <p:cNvSpPr>
                <a:spLocks noEditPoints="1"/>
              </p:cNvSpPr>
              <p:nvPr/>
            </p:nvSpPr>
            <p:spPr bwMode="auto">
              <a:xfrm>
                <a:off x="5133011" y="355856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8" name="Freeform 2191"/>
              <p:cNvSpPr>
                <a:spLocks noEditPoints="1"/>
              </p:cNvSpPr>
              <p:nvPr/>
            </p:nvSpPr>
            <p:spPr bwMode="auto">
              <a:xfrm>
                <a:off x="4601191" y="3478470"/>
                <a:ext cx="200210" cy="2010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9" name="Freeform 2191"/>
              <p:cNvSpPr>
                <a:spLocks noEditPoints="1"/>
              </p:cNvSpPr>
              <p:nvPr/>
            </p:nvSpPr>
            <p:spPr bwMode="auto">
              <a:xfrm>
                <a:off x="4787460" y="3596842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0" name="Freeform 2191"/>
              <p:cNvSpPr>
                <a:spLocks noEditPoints="1"/>
              </p:cNvSpPr>
              <p:nvPr/>
            </p:nvSpPr>
            <p:spPr bwMode="auto">
              <a:xfrm>
                <a:off x="4752961" y="3703166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1" name="Freeform 2191"/>
              <p:cNvSpPr>
                <a:spLocks noEditPoints="1"/>
              </p:cNvSpPr>
              <p:nvPr/>
            </p:nvSpPr>
            <p:spPr bwMode="auto">
              <a:xfrm>
                <a:off x="4652835" y="3703166"/>
                <a:ext cx="94065" cy="944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2" name="Freeform 2191"/>
              <p:cNvSpPr>
                <a:spLocks noEditPoints="1"/>
              </p:cNvSpPr>
              <p:nvPr/>
            </p:nvSpPr>
            <p:spPr bwMode="auto">
              <a:xfrm>
                <a:off x="4668560" y="3803069"/>
                <a:ext cx="94065" cy="944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3" name="Freeform 2191"/>
              <p:cNvSpPr>
                <a:spLocks noEditPoints="1"/>
              </p:cNvSpPr>
              <p:nvPr/>
            </p:nvSpPr>
            <p:spPr bwMode="auto">
              <a:xfrm>
                <a:off x="4685406" y="4130456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4" name="Freeform 2191"/>
              <p:cNvSpPr>
                <a:spLocks noEditPoints="1"/>
              </p:cNvSpPr>
              <p:nvPr/>
            </p:nvSpPr>
            <p:spPr bwMode="auto">
              <a:xfrm>
                <a:off x="4866397" y="4396689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5" name="Freeform 2191"/>
              <p:cNvSpPr>
                <a:spLocks noEditPoints="1"/>
              </p:cNvSpPr>
              <p:nvPr/>
            </p:nvSpPr>
            <p:spPr bwMode="auto">
              <a:xfrm>
                <a:off x="5340266" y="4396689"/>
                <a:ext cx="95025" cy="9543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6" name="Freeform 2191"/>
              <p:cNvSpPr>
                <a:spLocks noEditPoints="1"/>
              </p:cNvSpPr>
              <p:nvPr/>
            </p:nvSpPr>
            <p:spPr bwMode="auto">
              <a:xfrm>
                <a:off x="5508325" y="3715072"/>
                <a:ext cx="142645" cy="14325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82" name="Freeform 481"/>
            <p:cNvSpPr/>
            <p:nvPr/>
          </p:nvSpPr>
          <p:spPr>
            <a:xfrm>
              <a:off x="753869" y="5138367"/>
              <a:ext cx="2498446" cy="164507"/>
            </a:xfrm>
            <a:custGeom>
              <a:avLst/>
              <a:gdLst>
                <a:gd name="connsiteX0" fmla="*/ 0 w 3086100"/>
                <a:gd name="connsiteY0" fmla="*/ 203200 h 203200"/>
                <a:gd name="connsiteX1" fmla="*/ 203200 w 3086100"/>
                <a:gd name="connsiteY1" fmla="*/ 0 h 203200"/>
                <a:gd name="connsiteX2" fmla="*/ 3086100 w 3086100"/>
                <a:gd name="connsiteY2" fmla="*/ 0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6100" h="203200">
                  <a:moveTo>
                    <a:pt x="0" y="203200"/>
                  </a:moveTo>
                  <a:lnTo>
                    <a:pt x="203200" y="0"/>
                  </a:lnTo>
                  <a:lnTo>
                    <a:pt x="3086100" y="0"/>
                  </a:lnTo>
                </a:path>
              </a:pathLst>
            </a:custGeom>
            <a:noFill/>
            <a:ln w="19050" cap="flat" cmpd="sng" algn="ctr">
              <a:solidFill>
                <a:sysClr val="window" lastClr="FFFFFF">
                  <a:alpha val="10000"/>
                </a:sys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3" name="Freeform 482"/>
            <p:cNvSpPr/>
            <p:nvPr/>
          </p:nvSpPr>
          <p:spPr>
            <a:xfrm>
              <a:off x="10183882" y="4851338"/>
              <a:ext cx="271697" cy="391563"/>
            </a:xfrm>
            <a:custGeom>
              <a:avLst/>
              <a:gdLst>
                <a:gd name="connsiteX0" fmla="*/ 0 w 259080"/>
                <a:gd name="connsiteY0" fmla="*/ 373380 h 373380"/>
                <a:gd name="connsiteX1" fmla="*/ 0 w 259080"/>
                <a:gd name="connsiteY1" fmla="*/ 259080 h 373380"/>
                <a:gd name="connsiteX2" fmla="*/ 259080 w 259080"/>
                <a:gd name="connsiteY2" fmla="*/ 0 h 373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9080" h="373380">
                  <a:moveTo>
                    <a:pt x="0" y="373380"/>
                  </a:moveTo>
                  <a:lnTo>
                    <a:pt x="0" y="259080"/>
                  </a:lnTo>
                  <a:lnTo>
                    <a:pt x="25908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4" name="Freeform 483"/>
            <p:cNvSpPr/>
            <p:nvPr/>
          </p:nvSpPr>
          <p:spPr>
            <a:xfrm>
              <a:off x="10887097" y="5003167"/>
              <a:ext cx="159822" cy="263706"/>
            </a:xfrm>
            <a:custGeom>
              <a:avLst/>
              <a:gdLst>
                <a:gd name="connsiteX0" fmla="*/ 0 w 152400"/>
                <a:gd name="connsiteY0" fmla="*/ 251460 h 251460"/>
                <a:gd name="connsiteX1" fmla="*/ 0 w 152400"/>
                <a:gd name="connsiteY1" fmla="*/ 152400 h 251460"/>
                <a:gd name="connsiteX2" fmla="*/ 152400 w 152400"/>
                <a:gd name="connsiteY2" fmla="*/ 0 h 25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400" h="251460">
                  <a:moveTo>
                    <a:pt x="0" y="251460"/>
                  </a:moveTo>
                  <a:lnTo>
                    <a:pt x="0" y="152400"/>
                  </a:lnTo>
                  <a:lnTo>
                    <a:pt x="1524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5" name="Freeform 484"/>
            <p:cNvSpPr/>
            <p:nvPr/>
          </p:nvSpPr>
          <p:spPr>
            <a:xfrm>
              <a:off x="9184995" y="5602499"/>
              <a:ext cx="663260" cy="807100"/>
            </a:xfrm>
            <a:custGeom>
              <a:avLst/>
              <a:gdLst>
                <a:gd name="connsiteX0" fmla="*/ 632460 w 632460"/>
                <a:gd name="connsiteY0" fmla="*/ 0 h 769620"/>
                <a:gd name="connsiteX1" fmla="*/ 464820 w 632460"/>
                <a:gd name="connsiteY1" fmla="*/ 0 h 769620"/>
                <a:gd name="connsiteX2" fmla="*/ 464820 w 632460"/>
                <a:gd name="connsiteY2" fmla="*/ 304800 h 769620"/>
                <a:gd name="connsiteX3" fmla="*/ 0 w 632460"/>
                <a:gd name="connsiteY3" fmla="*/ 769620 h 76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2460" h="769620">
                  <a:moveTo>
                    <a:pt x="632460" y="0"/>
                  </a:moveTo>
                  <a:lnTo>
                    <a:pt x="464820" y="0"/>
                  </a:lnTo>
                  <a:lnTo>
                    <a:pt x="464820" y="304800"/>
                  </a:lnTo>
                  <a:lnTo>
                    <a:pt x="0" y="76962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86" name="Group 485"/>
            <p:cNvGrpSpPr/>
            <p:nvPr/>
          </p:nvGrpSpPr>
          <p:grpSpPr>
            <a:xfrm>
              <a:off x="-5398" y="4519245"/>
              <a:ext cx="12211686" cy="2386328"/>
              <a:chOff x="-6986" y="4519245"/>
              <a:chExt cx="12211686" cy="2386328"/>
            </a:xfrm>
          </p:grpSpPr>
          <p:sp>
            <p:nvSpPr>
              <p:cNvPr id="489" name="Title 2"/>
              <p:cNvSpPr txBox="1"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-6986" y="4519245"/>
                <a:ext cx="12211686" cy="2386328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wrap="square" lIns="365665" rIns="4387977" bIns="45708" anchor="ctr">
                <a:noAutofit/>
              </a:bodyPr>
              <a:lstStyle>
                <a:lvl1pPr marL="0" algn="l" defTabSz="1088105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4000" kern="1200" spc="-58" baseline="0" dirty="0">
                    <a:solidFill>
                      <a:schemeClr val="bg2"/>
                    </a:solidFill>
                    <a:latin typeface="Segoe UI Light" pitchFamily="34" charset="0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pPr marL="0" marR="0" lvl="0" indent="0" algn="l" defTabSz="91402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u="none" dirty="0" smtClean="0"/>
                  <a:t>Exploratory Analysis </a:t>
                </a:r>
                <a:r>
                  <a:rPr lang="en-US" b="1" dirty="0" smtClean="0"/>
                  <a:t>of Brewery and Beer </a:t>
                </a:r>
                <a:r>
                  <a:rPr lang="en-US" b="1" dirty="0" smtClean="0"/>
                  <a:t>Data Sets</a:t>
                </a:r>
                <a:endParaRPr kumimoji="0" lang="en-US" sz="4000" b="1" i="0" u="none" strike="noStrike" kern="1200" cap="none" spc="-58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endParaRPr>
              </a:p>
              <a:p>
                <a:pPr lvl="0" defTabSz="914028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3600" spc="-100" dirty="0" smtClean="0">
                    <a:ln w="3175">
                      <a:noFill/>
                    </a:ln>
                    <a:solidFill>
                      <a:srgbClr val="0072C6"/>
                    </a:solidFill>
                    <a:latin typeface="Segoe UI Light"/>
                    <a:cs typeface="Arial" charset="0"/>
                  </a:rPr>
                  <a:t>Customer: Budweiser</a:t>
                </a:r>
                <a:endParaRPr lang="en-US" sz="3600" spc="-100" dirty="0">
                  <a:ln w="3175">
                    <a:noFill/>
                  </a:ln>
                  <a:solidFill>
                    <a:srgbClr val="0072C6"/>
                  </a:solidFill>
                  <a:latin typeface="Segoe UI Light"/>
                  <a:cs typeface="Arial" charset="0"/>
                </a:endParaRPr>
              </a:p>
              <a:p>
                <a:pPr lvl="0" defTabSz="914028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2400" dirty="0">
                    <a:cs typeface="Segoe UI Light" panose="020B0502040204020203" pitchFamily="34" charset="0"/>
                  </a:rPr>
                  <a:t>Presenters: Adam Alidra and Cameron Stewart</a:t>
                </a:r>
              </a:p>
            </p:txBody>
          </p:sp>
          <p:grpSp>
            <p:nvGrpSpPr>
              <p:cNvPr id="490" name="Group 489"/>
              <p:cNvGrpSpPr/>
              <p:nvPr/>
            </p:nvGrpSpPr>
            <p:grpSpPr>
              <a:xfrm>
                <a:off x="8188425" y="4674838"/>
                <a:ext cx="3856601" cy="2026355"/>
                <a:chOff x="8223608" y="6992915"/>
                <a:chExt cx="3856601" cy="2026355"/>
              </a:xfrm>
            </p:grpSpPr>
            <p:sp>
              <p:nvSpPr>
                <p:cNvPr id="491" name="Freeform 490"/>
                <p:cNvSpPr/>
                <p:nvPr/>
              </p:nvSpPr>
              <p:spPr>
                <a:xfrm>
                  <a:off x="9639804" y="8133815"/>
                  <a:ext cx="119866" cy="0"/>
                </a:xfrm>
                <a:custGeom>
                  <a:avLst/>
                  <a:gdLst>
                    <a:gd name="connsiteX0" fmla="*/ 114300 w 114300"/>
                    <a:gd name="connsiteY0" fmla="*/ 0 h 0"/>
                    <a:gd name="connsiteX1" fmla="*/ 0 w 114300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300">
                      <a:moveTo>
                        <a:pt x="114300" y="0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9050" cap="flat" cmpd="sng" algn="ctr">
                  <a:solidFill>
                    <a:srgbClr val="00BCF2">
                      <a:alpha val="20000"/>
                    </a:srgbClr>
                  </a:solidFill>
                  <a:prstDash val="solid"/>
                  <a:tailEnd type="oval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92" name="Group 491"/>
                <p:cNvGrpSpPr/>
                <p:nvPr/>
              </p:nvGrpSpPr>
              <p:grpSpPr>
                <a:xfrm>
                  <a:off x="8223608" y="6992915"/>
                  <a:ext cx="1772655" cy="2026354"/>
                  <a:chOff x="8344385" y="4680115"/>
                  <a:chExt cx="1690338" cy="1945226"/>
                </a:xfrm>
              </p:grpSpPr>
              <p:sp>
                <p:nvSpPr>
                  <p:cNvPr id="628" name="Rectangle 627"/>
                  <p:cNvSpPr/>
                  <p:nvPr/>
                </p:nvSpPr>
                <p:spPr>
                  <a:xfrm>
                    <a:off x="8344385" y="4680115"/>
                    <a:ext cx="1690338" cy="1945226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629" name="Group 628"/>
                  <p:cNvGrpSpPr/>
                  <p:nvPr/>
                </p:nvGrpSpPr>
                <p:grpSpPr>
                  <a:xfrm>
                    <a:off x="8524510" y="5014730"/>
                    <a:ext cx="1285242" cy="1279295"/>
                    <a:chOff x="10028285" y="16223"/>
                    <a:chExt cx="2145645" cy="2081343"/>
                  </a:xfrm>
                </p:grpSpPr>
                <p:sp>
                  <p:nvSpPr>
                    <p:cNvPr id="630" name="Freeform 62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396525" y="55967"/>
                      <a:ext cx="1408022" cy="2144502"/>
                    </a:xfrm>
                    <a:custGeom>
                      <a:avLst/>
                      <a:gdLst>
                        <a:gd name="connsiteX0" fmla="*/ 0 w 1408022"/>
                        <a:gd name="connsiteY0" fmla="*/ 5689 h 2144502"/>
                        <a:gd name="connsiteX1" fmla="*/ 37313 w 1408022"/>
                        <a:gd name="connsiteY1" fmla="*/ 0 h 2144502"/>
                        <a:gd name="connsiteX2" fmla="*/ 39508 w 1408022"/>
                        <a:gd name="connsiteY2" fmla="*/ 113781 h 2144502"/>
                        <a:gd name="connsiteX3" fmla="*/ 68042 w 1408022"/>
                        <a:gd name="connsiteY3" fmla="*/ 270799 h 2144502"/>
                        <a:gd name="connsiteX4" fmla="*/ 199735 w 1408022"/>
                        <a:gd name="connsiteY4" fmla="*/ 309485 h 2144502"/>
                        <a:gd name="connsiteX5" fmla="*/ 567379 w 1408022"/>
                        <a:gd name="connsiteY5" fmla="*/ 309485 h 2144502"/>
                        <a:gd name="connsiteX6" fmla="*/ 911977 w 1408022"/>
                        <a:gd name="connsiteY6" fmla="*/ 508602 h 2144502"/>
                        <a:gd name="connsiteX7" fmla="*/ 911977 w 1408022"/>
                        <a:gd name="connsiteY7" fmla="*/ 512016 h 2144502"/>
                        <a:gd name="connsiteX8" fmla="*/ 913074 w 1408022"/>
                        <a:gd name="connsiteY8" fmla="*/ 629211 h 2144502"/>
                        <a:gd name="connsiteX9" fmla="*/ 962459 w 1408022"/>
                        <a:gd name="connsiteY9" fmla="*/ 880668 h 2144502"/>
                        <a:gd name="connsiteX10" fmla="*/ 1213774 w 1408022"/>
                        <a:gd name="connsiteY10" fmla="*/ 926180 h 2144502"/>
                        <a:gd name="connsiteX11" fmla="*/ 1402535 w 1408022"/>
                        <a:gd name="connsiteY11" fmla="*/ 1108230 h 2144502"/>
                        <a:gd name="connsiteX12" fmla="*/ 1408022 w 1408022"/>
                        <a:gd name="connsiteY12" fmla="*/ 1144640 h 2144502"/>
                        <a:gd name="connsiteX13" fmla="*/ 1408022 w 1408022"/>
                        <a:gd name="connsiteY13" fmla="*/ 1149192 h 2144502"/>
                        <a:gd name="connsiteX14" fmla="*/ 1403632 w 1408022"/>
                        <a:gd name="connsiteY14" fmla="*/ 1656657 h 2144502"/>
                        <a:gd name="connsiteX15" fmla="*/ 1403632 w 1408022"/>
                        <a:gd name="connsiteY15" fmla="*/ 1658932 h 2144502"/>
                        <a:gd name="connsiteX16" fmla="*/ 1181948 w 1408022"/>
                        <a:gd name="connsiteY16" fmla="*/ 1899011 h 2144502"/>
                        <a:gd name="connsiteX17" fmla="*/ 1178656 w 1408022"/>
                        <a:gd name="connsiteY17" fmla="*/ 1899011 h 2144502"/>
                        <a:gd name="connsiteX18" fmla="*/ 1030501 w 1408022"/>
                        <a:gd name="connsiteY18" fmla="*/ 1894460 h 2144502"/>
                        <a:gd name="connsiteX19" fmla="*/ 848325 w 1408022"/>
                        <a:gd name="connsiteY19" fmla="*/ 2053754 h 2144502"/>
                        <a:gd name="connsiteX20" fmla="*/ 847471 w 1408022"/>
                        <a:gd name="connsiteY20" fmla="*/ 2144502 h 2144502"/>
                        <a:gd name="connsiteX21" fmla="*/ 810158 w 1408022"/>
                        <a:gd name="connsiteY21" fmla="*/ 2144502 h 2144502"/>
                        <a:gd name="connsiteX22" fmla="*/ 810463 w 1408022"/>
                        <a:gd name="connsiteY22" fmla="*/ 2112067 h 2144502"/>
                        <a:gd name="connsiteX23" fmla="*/ 811012 w 1408022"/>
                        <a:gd name="connsiteY23" fmla="*/ 2053754 h 2144502"/>
                        <a:gd name="connsiteX24" fmla="*/ 811012 w 1408022"/>
                        <a:gd name="connsiteY24" fmla="*/ 2052616 h 2144502"/>
                        <a:gd name="connsiteX25" fmla="*/ 1028306 w 1408022"/>
                        <a:gd name="connsiteY25" fmla="*/ 1855774 h 2144502"/>
                        <a:gd name="connsiteX26" fmla="*/ 1030501 w 1408022"/>
                        <a:gd name="connsiteY26" fmla="*/ 1855774 h 2144502"/>
                        <a:gd name="connsiteX27" fmla="*/ 1178656 w 1408022"/>
                        <a:gd name="connsiteY27" fmla="*/ 1860325 h 2144502"/>
                        <a:gd name="connsiteX28" fmla="*/ 1366319 w 1408022"/>
                        <a:gd name="connsiteY28" fmla="*/ 1654381 h 2144502"/>
                        <a:gd name="connsiteX29" fmla="*/ 1370709 w 1408022"/>
                        <a:gd name="connsiteY29" fmla="*/ 1151467 h 2144502"/>
                        <a:gd name="connsiteX30" fmla="*/ 1365222 w 1408022"/>
                        <a:gd name="connsiteY30" fmla="*/ 1113919 h 2144502"/>
                        <a:gd name="connsiteX31" fmla="*/ 1217067 w 1408022"/>
                        <a:gd name="connsiteY31" fmla="*/ 964866 h 2144502"/>
                        <a:gd name="connsiteX32" fmla="*/ 937218 w 1408022"/>
                        <a:gd name="connsiteY32" fmla="*/ 909113 h 2144502"/>
                        <a:gd name="connsiteX33" fmla="*/ 875761 w 1408022"/>
                        <a:gd name="connsiteY33" fmla="*/ 628073 h 2144502"/>
                        <a:gd name="connsiteX34" fmla="*/ 874664 w 1408022"/>
                        <a:gd name="connsiteY34" fmla="*/ 515429 h 2144502"/>
                        <a:gd name="connsiteX35" fmla="*/ 569574 w 1408022"/>
                        <a:gd name="connsiteY35" fmla="*/ 348171 h 2144502"/>
                        <a:gd name="connsiteX36" fmla="*/ 568477 w 1408022"/>
                        <a:gd name="connsiteY36" fmla="*/ 348171 h 2144502"/>
                        <a:gd name="connsiteX37" fmla="*/ 199735 w 1408022"/>
                        <a:gd name="connsiteY37" fmla="*/ 348171 h 2144502"/>
                        <a:gd name="connsiteX38" fmla="*/ 40605 w 1408022"/>
                        <a:gd name="connsiteY38" fmla="*/ 296969 h 2144502"/>
                        <a:gd name="connsiteX39" fmla="*/ 2195 w 1408022"/>
                        <a:gd name="connsiteY39" fmla="*/ 112643 h 2144502"/>
                        <a:gd name="connsiteX40" fmla="*/ 0 w 1408022"/>
                        <a:gd name="connsiteY40" fmla="*/ 5689 h 214450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</a:cxnLst>
                      <a:rect l="l" t="t" r="r" b="b"/>
                      <a:pathLst>
                        <a:path w="1408022" h="2144502">
                          <a:moveTo>
                            <a:pt x="0" y="5689"/>
                          </a:moveTo>
                          <a:cubicBezTo>
                            <a:pt x="37313" y="0"/>
                            <a:pt x="37313" y="0"/>
                            <a:pt x="37313" y="0"/>
                          </a:cubicBezTo>
                          <a:cubicBezTo>
                            <a:pt x="41703" y="38685"/>
                            <a:pt x="40605" y="77371"/>
                            <a:pt x="39508" y="113781"/>
                          </a:cubicBezTo>
                          <a:cubicBezTo>
                            <a:pt x="37313" y="179774"/>
                            <a:pt x="36216" y="236665"/>
                            <a:pt x="68042" y="270799"/>
                          </a:cubicBezTo>
                          <a:cubicBezTo>
                            <a:pt x="92185" y="296969"/>
                            <a:pt x="134986" y="309485"/>
                            <a:pt x="199735" y="309485"/>
                          </a:cubicBezTo>
                          <a:cubicBezTo>
                            <a:pt x="567379" y="309485"/>
                            <a:pt x="567379" y="309485"/>
                            <a:pt x="567379" y="309485"/>
                          </a:cubicBezTo>
                          <a:cubicBezTo>
                            <a:pt x="688098" y="301520"/>
                            <a:pt x="881248" y="359549"/>
                            <a:pt x="911977" y="508602"/>
                          </a:cubicBezTo>
                          <a:cubicBezTo>
                            <a:pt x="911977" y="509740"/>
                            <a:pt x="911977" y="510878"/>
                            <a:pt x="911977" y="512016"/>
                          </a:cubicBezTo>
                          <a:cubicBezTo>
                            <a:pt x="914172" y="552977"/>
                            <a:pt x="913074" y="591663"/>
                            <a:pt x="913074" y="629211"/>
                          </a:cubicBezTo>
                          <a:cubicBezTo>
                            <a:pt x="911977" y="741854"/>
                            <a:pt x="910879" y="831742"/>
                            <a:pt x="962459" y="880668"/>
                          </a:cubicBezTo>
                          <a:cubicBezTo>
                            <a:pt x="1006357" y="922767"/>
                            <a:pt x="1085373" y="937558"/>
                            <a:pt x="1213774" y="926180"/>
                          </a:cubicBezTo>
                          <a:cubicBezTo>
                            <a:pt x="1376196" y="914802"/>
                            <a:pt x="1392658" y="1036548"/>
                            <a:pt x="1402535" y="1108230"/>
                          </a:cubicBezTo>
                          <a:cubicBezTo>
                            <a:pt x="1403632" y="1121884"/>
                            <a:pt x="1405827" y="1134400"/>
                            <a:pt x="1408022" y="1144640"/>
                          </a:cubicBezTo>
                          <a:cubicBezTo>
                            <a:pt x="1408022" y="1146916"/>
                            <a:pt x="1408022" y="1148054"/>
                            <a:pt x="1408022" y="1149192"/>
                          </a:cubicBezTo>
                          <a:cubicBezTo>
                            <a:pt x="1403632" y="1656657"/>
                            <a:pt x="1403632" y="1656657"/>
                            <a:pt x="1403632" y="1656657"/>
                          </a:cubicBezTo>
                          <a:cubicBezTo>
                            <a:pt x="1403632" y="1656657"/>
                            <a:pt x="1403632" y="1657794"/>
                            <a:pt x="1403632" y="1658932"/>
                          </a:cubicBezTo>
                          <a:cubicBezTo>
                            <a:pt x="1381683" y="1843258"/>
                            <a:pt x="1298278" y="1887633"/>
                            <a:pt x="1181948" y="1899011"/>
                          </a:cubicBezTo>
                          <a:cubicBezTo>
                            <a:pt x="1180851" y="1899011"/>
                            <a:pt x="1179753" y="1899011"/>
                            <a:pt x="1178656" y="1899011"/>
                          </a:cubicBezTo>
                          <a:cubicBezTo>
                            <a:pt x="1030501" y="1894460"/>
                            <a:pt x="1030501" y="1894460"/>
                            <a:pt x="1030501" y="1894460"/>
                          </a:cubicBezTo>
                          <a:cubicBezTo>
                            <a:pt x="859300" y="1909251"/>
                            <a:pt x="849423" y="2037824"/>
                            <a:pt x="848325" y="2053754"/>
                          </a:cubicBezTo>
                          <a:lnTo>
                            <a:pt x="847471" y="2144502"/>
                          </a:lnTo>
                          <a:lnTo>
                            <a:pt x="810158" y="2144502"/>
                          </a:lnTo>
                          <a:lnTo>
                            <a:pt x="810463" y="2112067"/>
                          </a:lnTo>
                          <a:cubicBezTo>
                            <a:pt x="811012" y="2053754"/>
                            <a:pt x="811012" y="2053754"/>
                            <a:pt x="811012" y="2053754"/>
                          </a:cubicBezTo>
                          <a:cubicBezTo>
                            <a:pt x="811012" y="2052616"/>
                            <a:pt x="811012" y="2052616"/>
                            <a:pt x="811012" y="2052616"/>
                          </a:cubicBezTo>
                          <a:cubicBezTo>
                            <a:pt x="812109" y="2034411"/>
                            <a:pt x="823084" y="1872841"/>
                            <a:pt x="1028306" y="1855774"/>
                          </a:cubicBezTo>
                          <a:cubicBezTo>
                            <a:pt x="1029404" y="1855774"/>
                            <a:pt x="1030501" y="1855774"/>
                            <a:pt x="1030501" y="1855774"/>
                          </a:cubicBezTo>
                          <a:cubicBezTo>
                            <a:pt x="1178656" y="1860325"/>
                            <a:pt x="1178656" y="1860325"/>
                            <a:pt x="1178656" y="1860325"/>
                          </a:cubicBezTo>
                          <a:cubicBezTo>
                            <a:pt x="1285108" y="1850085"/>
                            <a:pt x="1346565" y="1813675"/>
                            <a:pt x="1366319" y="1654381"/>
                          </a:cubicBezTo>
                          <a:cubicBezTo>
                            <a:pt x="1370709" y="1151467"/>
                            <a:pt x="1370709" y="1151467"/>
                            <a:pt x="1370709" y="1151467"/>
                          </a:cubicBezTo>
                          <a:cubicBezTo>
                            <a:pt x="1368514" y="1140089"/>
                            <a:pt x="1367417" y="1127573"/>
                            <a:pt x="1365222" y="1113919"/>
                          </a:cubicBezTo>
                          <a:cubicBezTo>
                            <a:pt x="1354247" y="1036548"/>
                            <a:pt x="1344370" y="955763"/>
                            <a:pt x="1217067" y="964866"/>
                          </a:cubicBezTo>
                          <a:cubicBezTo>
                            <a:pt x="1077691" y="977382"/>
                            <a:pt x="988798" y="959177"/>
                            <a:pt x="937218" y="909113"/>
                          </a:cubicBezTo>
                          <a:cubicBezTo>
                            <a:pt x="873566" y="847671"/>
                            <a:pt x="874664" y="746406"/>
                            <a:pt x="875761" y="628073"/>
                          </a:cubicBezTo>
                          <a:cubicBezTo>
                            <a:pt x="875761" y="592801"/>
                            <a:pt x="876859" y="555253"/>
                            <a:pt x="874664" y="515429"/>
                          </a:cubicBezTo>
                          <a:cubicBezTo>
                            <a:pt x="848325" y="394821"/>
                            <a:pt x="681513" y="341344"/>
                            <a:pt x="569574" y="348171"/>
                          </a:cubicBezTo>
                          <a:cubicBezTo>
                            <a:pt x="569574" y="348171"/>
                            <a:pt x="568477" y="348171"/>
                            <a:pt x="568477" y="348171"/>
                          </a:cubicBezTo>
                          <a:cubicBezTo>
                            <a:pt x="199735" y="348171"/>
                            <a:pt x="199735" y="348171"/>
                            <a:pt x="199735" y="348171"/>
                          </a:cubicBezTo>
                          <a:cubicBezTo>
                            <a:pt x="124011" y="348171"/>
                            <a:pt x="72431" y="331103"/>
                            <a:pt x="40605" y="296969"/>
                          </a:cubicBezTo>
                          <a:cubicBezTo>
                            <a:pt x="-2195" y="251456"/>
                            <a:pt x="0" y="184325"/>
                            <a:pt x="2195" y="112643"/>
                          </a:cubicBezTo>
                          <a:cubicBezTo>
                            <a:pt x="3292" y="77371"/>
                            <a:pt x="4390" y="39823"/>
                            <a:pt x="0" y="5689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1" name="Freeform 63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42060" y="-149976"/>
                      <a:ext cx="1109410" cy="2136959"/>
                    </a:xfrm>
                    <a:custGeom>
                      <a:avLst/>
                      <a:gdLst>
                        <a:gd name="connsiteX0" fmla="*/ 0 w 1109410"/>
                        <a:gd name="connsiteY0" fmla="*/ 897480 h 2136959"/>
                        <a:gd name="connsiteX1" fmla="*/ 0 w 1109410"/>
                        <a:gd name="connsiteY1" fmla="*/ 895205 h 2136959"/>
                        <a:gd name="connsiteX2" fmla="*/ 77903 w 1109410"/>
                        <a:gd name="connsiteY2" fmla="*/ 723444 h 2136959"/>
                        <a:gd name="connsiteX3" fmla="*/ 274307 w 1109410"/>
                        <a:gd name="connsiteY3" fmla="*/ 679082 h 2136959"/>
                        <a:gd name="connsiteX4" fmla="*/ 904116 w 1109410"/>
                        <a:gd name="connsiteY4" fmla="*/ 684770 h 2136959"/>
                        <a:gd name="connsiteX5" fmla="*/ 1053339 w 1109410"/>
                        <a:gd name="connsiteY5" fmla="*/ 478884 h 2136959"/>
                        <a:gd name="connsiteX6" fmla="*/ 1048950 w 1109410"/>
                        <a:gd name="connsiteY6" fmla="*/ 0 h 2136959"/>
                        <a:gd name="connsiteX7" fmla="*/ 1086256 w 1109410"/>
                        <a:gd name="connsiteY7" fmla="*/ 0 h 2136959"/>
                        <a:gd name="connsiteX8" fmla="*/ 1090645 w 1109410"/>
                        <a:gd name="connsiteY8" fmla="*/ 480022 h 2136959"/>
                        <a:gd name="connsiteX9" fmla="*/ 1090645 w 1109410"/>
                        <a:gd name="connsiteY9" fmla="*/ 483434 h 2136959"/>
                        <a:gd name="connsiteX10" fmla="*/ 907408 w 1109410"/>
                        <a:gd name="connsiteY10" fmla="*/ 723444 h 2136959"/>
                        <a:gd name="connsiteX11" fmla="*/ 905213 w 1109410"/>
                        <a:gd name="connsiteY11" fmla="*/ 723444 h 2136959"/>
                        <a:gd name="connsiteX12" fmla="*/ 273210 w 1109410"/>
                        <a:gd name="connsiteY12" fmla="*/ 717757 h 2136959"/>
                        <a:gd name="connsiteX13" fmla="*/ 271015 w 1109410"/>
                        <a:gd name="connsiteY13" fmla="*/ 717757 h 2136959"/>
                        <a:gd name="connsiteX14" fmla="*/ 100945 w 1109410"/>
                        <a:gd name="connsiteY14" fmla="*/ 753019 h 2136959"/>
                        <a:gd name="connsiteX15" fmla="*/ 37306 w 1109410"/>
                        <a:gd name="connsiteY15" fmla="*/ 897480 h 2136959"/>
                        <a:gd name="connsiteX16" fmla="*/ 39500 w 1109410"/>
                        <a:gd name="connsiteY16" fmla="*/ 990754 h 2136959"/>
                        <a:gd name="connsiteX17" fmla="*/ 46084 w 1109410"/>
                        <a:gd name="connsiteY17" fmla="*/ 1152278 h 2136959"/>
                        <a:gd name="connsiteX18" fmla="*/ 254557 w 1109410"/>
                        <a:gd name="connsiteY18" fmla="*/ 1319489 h 2136959"/>
                        <a:gd name="connsiteX19" fmla="*/ 255654 w 1109410"/>
                        <a:gd name="connsiteY19" fmla="*/ 1318351 h 2136959"/>
                        <a:gd name="connsiteX20" fmla="*/ 869005 w 1109410"/>
                        <a:gd name="connsiteY20" fmla="*/ 1318351 h 2136959"/>
                        <a:gd name="connsiteX21" fmla="*/ 1035784 w 1109410"/>
                        <a:gd name="connsiteY21" fmla="*/ 1370676 h 2136959"/>
                        <a:gd name="connsiteX22" fmla="*/ 1108201 w 1109410"/>
                        <a:gd name="connsiteY22" fmla="*/ 1592486 h 2136959"/>
                        <a:gd name="connsiteX23" fmla="*/ 1103007 w 1109410"/>
                        <a:gd name="connsiteY23" fmla="*/ 2136959 h 2136959"/>
                        <a:gd name="connsiteX24" fmla="*/ 1065697 w 1109410"/>
                        <a:gd name="connsiteY24" fmla="*/ 2136959 h 2136959"/>
                        <a:gd name="connsiteX25" fmla="*/ 1066187 w 1109410"/>
                        <a:gd name="connsiteY25" fmla="*/ 2085548 h 2136959"/>
                        <a:gd name="connsiteX26" fmla="*/ 1070895 w 1109410"/>
                        <a:gd name="connsiteY26" fmla="*/ 1591349 h 2136959"/>
                        <a:gd name="connsiteX27" fmla="*/ 1070895 w 1109410"/>
                        <a:gd name="connsiteY27" fmla="*/ 1589073 h 2136959"/>
                        <a:gd name="connsiteX28" fmla="*/ 1010547 w 1109410"/>
                        <a:gd name="connsiteY28" fmla="*/ 1397975 h 2136959"/>
                        <a:gd name="connsiteX29" fmla="*/ 872297 w 1109410"/>
                        <a:gd name="connsiteY29" fmla="*/ 1357026 h 2136959"/>
                        <a:gd name="connsiteX30" fmla="*/ 870102 w 1109410"/>
                        <a:gd name="connsiteY30" fmla="*/ 1358163 h 2136959"/>
                        <a:gd name="connsiteX31" fmla="*/ 256751 w 1109410"/>
                        <a:gd name="connsiteY31" fmla="*/ 1358163 h 2136959"/>
                        <a:gd name="connsiteX32" fmla="*/ 8778 w 1109410"/>
                        <a:gd name="connsiteY32" fmla="*/ 1157965 h 2136959"/>
                        <a:gd name="connsiteX33" fmla="*/ 8778 w 1109410"/>
                        <a:gd name="connsiteY33" fmla="*/ 1156828 h 2136959"/>
                        <a:gd name="connsiteX34" fmla="*/ 1097 w 1109410"/>
                        <a:gd name="connsiteY34" fmla="*/ 990754 h 2136959"/>
                        <a:gd name="connsiteX35" fmla="*/ 0 w 1109410"/>
                        <a:gd name="connsiteY35" fmla="*/ 897480 h 213695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</a:cxnLst>
                      <a:rect l="l" t="t" r="r" b="b"/>
                      <a:pathLst>
                        <a:path w="1109410" h="2136959">
                          <a:moveTo>
                            <a:pt x="0" y="897480"/>
                          </a:moveTo>
                          <a:cubicBezTo>
                            <a:pt x="0" y="896343"/>
                            <a:pt x="0" y="896343"/>
                            <a:pt x="0" y="895205"/>
                          </a:cubicBezTo>
                          <a:cubicBezTo>
                            <a:pt x="6583" y="818993"/>
                            <a:pt x="32917" y="760982"/>
                            <a:pt x="77903" y="723444"/>
                          </a:cubicBezTo>
                          <a:cubicBezTo>
                            <a:pt x="123987" y="683632"/>
                            <a:pt x="190918" y="668845"/>
                            <a:pt x="274307" y="679082"/>
                          </a:cubicBezTo>
                          <a:cubicBezTo>
                            <a:pt x="904116" y="684770"/>
                            <a:pt x="904116" y="684770"/>
                            <a:pt x="904116" y="684770"/>
                          </a:cubicBezTo>
                          <a:cubicBezTo>
                            <a:pt x="985311" y="674532"/>
                            <a:pt x="1034686" y="605146"/>
                            <a:pt x="1053339" y="478884"/>
                          </a:cubicBezTo>
                          <a:cubicBezTo>
                            <a:pt x="1048950" y="0"/>
                            <a:pt x="1048950" y="0"/>
                            <a:pt x="1048950" y="0"/>
                          </a:cubicBezTo>
                          <a:cubicBezTo>
                            <a:pt x="1086256" y="0"/>
                            <a:pt x="1086256" y="0"/>
                            <a:pt x="1086256" y="0"/>
                          </a:cubicBezTo>
                          <a:cubicBezTo>
                            <a:pt x="1090645" y="480022"/>
                            <a:pt x="1090645" y="480022"/>
                            <a:pt x="1090645" y="480022"/>
                          </a:cubicBezTo>
                          <a:cubicBezTo>
                            <a:pt x="1090645" y="481159"/>
                            <a:pt x="1090645" y="482297"/>
                            <a:pt x="1090645" y="483434"/>
                          </a:cubicBezTo>
                          <a:cubicBezTo>
                            <a:pt x="1064312" y="666570"/>
                            <a:pt x="976533" y="715482"/>
                            <a:pt x="907408" y="723444"/>
                          </a:cubicBezTo>
                          <a:cubicBezTo>
                            <a:pt x="906311" y="723444"/>
                            <a:pt x="906311" y="723444"/>
                            <a:pt x="905213" y="723444"/>
                          </a:cubicBezTo>
                          <a:cubicBezTo>
                            <a:pt x="273210" y="717757"/>
                            <a:pt x="273210" y="717757"/>
                            <a:pt x="273210" y="717757"/>
                          </a:cubicBezTo>
                          <a:cubicBezTo>
                            <a:pt x="272113" y="717757"/>
                            <a:pt x="272113" y="717757"/>
                            <a:pt x="271015" y="717757"/>
                          </a:cubicBezTo>
                          <a:cubicBezTo>
                            <a:pt x="197501" y="708657"/>
                            <a:pt x="139348" y="721169"/>
                            <a:pt x="100945" y="753019"/>
                          </a:cubicBezTo>
                          <a:cubicBezTo>
                            <a:pt x="64737" y="783731"/>
                            <a:pt x="43889" y="832643"/>
                            <a:pt x="37306" y="897480"/>
                          </a:cubicBezTo>
                          <a:cubicBezTo>
                            <a:pt x="38403" y="936155"/>
                            <a:pt x="38403" y="964592"/>
                            <a:pt x="39500" y="990754"/>
                          </a:cubicBezTo>
                          <a:cubicBezTo>
                            <a:pt x="39500" y="1046491"/>
                            <a:pt x="39500" y="1082891"/>
                            <a:pt x="46084" y="1152278"/>
                          </a:cubicBezTo>
                          <a:cubicBezTo>
                            <a:pt x="60348" y="1241002"/>
                            <a:pt x="122890" y="1330863"/>
                            <a:pt x="254557" y="1319489"/>
                          </a:cubicBezTo>
                          <a:cubicBezTo>
                            <a:pt x="254557" y="1318351"/>
                            <a:pt x="255654" y="1318351"/>
                            <a:pt x="255654" y="1318351"/>
                          </a:cubicBezTo>
                          <a:cubicBezTo>
                            <a:pt x="869005" y="1318351"/>
                            <a:pt x="869005" y="1318351"/>
                            <a:pt x="869005" y="1318351"/>
                          </a:cubicBezTo>
                          <a:cubicBezTo>
                            <a:pt x="935936" y="1309251"/>
                            <a:pt x="992992" y="1327451"/>
                            <a:pt x="1035784" y="1370676"/>
                          </a:cubicBezTo>
                          <a:cubicBezTo>
                            <a:pt x="1095034" y="1428688"/>
                            <a:pt x="1114784" y="1524237"/>
                            <a:pt x="1108201" y="1592486"/>
                          </a:cubicBezTo>
                          <a:lnTo>
                            <a:pt x="1103007" y="2136959"/>
                          </a:lnTo>
                          <a:lnTo>
                            <a:pt x="1065697" y="2136959"/>
                          </a:lnTo>
                          <a:lnTo>
                            <a:pt x="1066187" y="2085548"/>
                          </a:lnTo>
                          <a:cubicBezTo>
                            <a:pt x="1070895" y="1591349"/>
                            <a:pt x="1070895" y="1591349"/>
                            <a:pt x="1070895" y="1591349"/>
                          </a:cubicBezTo>
                          <a:cubicBezTo>
                            <a:pt x="1070895" y="1590211"/>
                            <a:pt x="1070895" y="1590211"/>
                            <a:pt x="1070895" y="1589073"/>
                          </a:cubicBezTo>
                          <a:cubicBezTo>
                            <a:pt x="1076381" y="1532199"/>
                            <a:pt x="1059923" y="1448025"/>
                            <a:pt x="1010547" y="1397975"/>
                          </a:cubicBezTo>
                          <a:cubicBezTo>
                            <a:pt x="975436" y="1362713"/>
                            <a:pt x="929353" y="1349063"/>
                            <a:pt x="872297" y="1357026"/>
                          </a:cubicBezTo>
                          <a:cubicBezTo>
                            <a:pt x="872297" y="1358163"/>
                            <a:pt x="871199" y="1358163"/>
                            <a:pt x="870102" y="1358163"/>
                          </a:cubicBezTo>
                          <a:cubicBezTo>
                            <a:pt x="256751" y="1358163"/>
                            <a:pt x="256751" y="1358163"/>
                            <a:pt x="256751" y="1358163"/>
                          </a:cubicBezTo>
                          <a:cubicBezTo>
                            <a:pt x="99848" y="1371813"/>
                            <a:pt x="25236" y="1259202"/>
                            <a:pt x="8778" y="1157965"/>
                          </a:cubicBezTo>
                          <a:cubicBezTo>
                            <a:pt x="8778" y="1157965"/>
                            <a:pt x="8778" y="1156828"/>
                            <a:pt x="8778" y="1156828"/>
                          </a:cubicBezTo>
                          <a:cubicBezTo>
                            <a:pt x="2195" y="1085166"/>
                            <a:pt x="2195" y="1045354"/>
                            <a:pt x="1097" y="990754"/>
                          </a:cubicBezTo>
                          <a:cubicBezTo>
                            <a:pt x="1097" y="964592"/>
                            <a:pt x="1097" y="936155"/>
                            <a:pt x="0" y="89748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2" name="Freeform 188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664279" y="1486985"/>
                      <a:ext cx="371110" cy="630819"/>
                    </a:xfrm>
                    <a:custGeom>
                      <a:avLst/>
                      <a:gdLst>
                        <a:gd name="T0" fmla="*/ 266 w 338"/>
                        <a:gd name="T1" fmla="*/ 555 h 555"/>
                        <a:gd name="T2" fmla="*/ 52 w 338"/>
                        <a:gd name="T3" fmla="*/ 498 h 555"/>
                        <a:gd name="T4" fmla="*/ 0 w 338"/>
                        <a:gd name="T5" fmla="*/ 350 h 555"/>
                        <a:gd name="T6" fmla="*/ 0 w 338"/>
                        <a:gd name="T7" fmla="*/ 0 h 555"/>
                        <a:gd name="T8" fmla="*/ 34 w 338"/>
                        <a:gd name="T9" fmla="*/ 0 h 555"/>
                        <a:gd name="T10" fmla="*/ 34 w 338"/>
                        <a:gd name="T11" fmla="*/ 349 h 555"/>
                        <a:gd name="T12" fmla="*/ 75 w 338"/>
                        <a:gd name="T13" fmla="*/ 472 h 555"/>
                        <a:gd name="T14" fmla="*/ 336 w 338"/>
                        <a:gd name="T15" fmla="*/ 519 h 555"/>
                        <a:gd name="T16" fmla="*/ 338 w 338"/>
                        <a:gd name="T17" fmla="*/ 553 h 555"/>
                        <a:gd name="T18" fmla="*/ 266 w 338"/>
                        <a:gd name="T19" fmla="*/ 555 h 5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38" h="555">
                          <a:moveTo>
                            <a:pt x="266" y="555"/>
                          </a:moveTo>
                          <a:cubicBezTo>
                            <a:pt x="165" y="555"/>
                            <a:pt x="95" y="536"/>
                            <a:pt x="52" y="498"/>
                          </a:cubicBezTo>
                          <a:cubicBezTo>
                            <a:pt x="7" y="456"/>
                            <a:pt x="0" y="399"/>
                            <a:pt x="0" y="35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34" y="349"/>
                            <a:pt x="34" y="349"/>
                            <a:pt x="34" y="349"/>
                          </a:cubicBezTo>
                          <a:cubicBezTo>
                            <a:pt x="34" y="392"/>
                            <a:pt x="40" y="440"/>
                            <a:pt x="75" y="472"/>
                          </a:cubicBezTo>
                          <a:cubicBezTo>
                            <a:pt x="120" y="513"/>
                            <a:pt x="205" y="528"/>
                            <a:pt x="336" y="519"/>
                          </a:cubicBezTo>
                          <a:cubicBezTo>
                            <a:pt x="338" y="553"/>
                            <a:pt x="338" y="553"/>
                            <a:pt x="338" y="553"/>
                          </a:cubicBezTo>
                          <a:cubicBezTo>
                            <a:pt x="312" y="555"/>
                            <a:pt x="288" y="555"/>
                            <a:pt x="266" y="555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3" name="Freeform 63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137309" y="1406308"/>
                      <a:ext cx="498812" cy="716860"/>
                    </a:xfrm>
                    <a:custGeom>
                      <a:avLst/>
                      <a:gdLst>
                        <a:gd name="connsiteX0" fmla="*/ 266 w 498812"/>
                        <a:gd name="connsiteY0" fmla="*/ 294156 h 716860"/>
                        <a:gd name="connsiteX1" fmla="*/ 48040 w 498812"/>
                        <a:gd name="connsiteY1" fmla="*/ 152511 h 716860"/>
                        <a:gd name="connsiteX2" fmla="*/ 176675 w 498812"/>
                        <a:gd name="connsiteY2" fmla="*/ 75117 h 716860"/>
                        <a:gd name="connsiteX3" fmla="*/ 178874 w 498812"/>
                        <a:gd name="connsiteY3" fmla="*/ 75117 h 716860"/>
                        <a:gd name="connsiteX4" fmla="*/ 281122 w 498812"/>
                        <a:gd name="connsiteY4" fmla="*/ 75117 h 716860"/>
                        <a:gd name="connsiteX5" fmla="*/ 349288 w 498812"/>
                        <a:gd name="connsiteY5" fmla="*/ 62598 h 716860"/>
                        <a:gd name="connsiteX6" fmla="*/ 465829 w 498812"/>
                        <a:gd name="connsiteY6" fmla="*/ 0 h 716860"/>
                        <a:gd name="connsiteX7" fmla="*/ 498812 w 498812"/>
                        <a:gd name="connsiteY7" fmla="*/ 18210 h 716860"/>
                        <a:gd name="connsiteX8" fmla="*/ 352586 w 498812"/>
                        <a:gd name="connsiteY8" fmla="*/ 101295 h 716860"/>
                        <a:gd name="connsiteX9" fmla="*/ 292117 w 498812"/>
                        <a:gd name="connsiteY9" fmla="*/ 112676 h 716860"/>
                        <a:gd name="connsiteX10" fmla="*/ 284421 w 498812"/>
                        <a:gd name="connsiteY10" fmla="*/ 113814 h 716860"/>
                        <a:gd name="connsiteX11" fmla="*/ 179974 w 498812"/>
                        <a:gd name="connsiteY11" fmla="*/ 113814 h 716860"/>
                        <a:gd name="connsiteX12" fmla="*/ 77725 w 498812"/>
                        <a:gd name="connsiteY12" fmla="*/ 175274 h 716860"/>
                        <a:gd name="connsiteX13" fmla="*/ 39245 w 498812"/>
                        <a:gd name="connsiteY13" fmla="*/ 324370 h 716860"/>
                        <a:gd name="connsiteX14" fmla="*/ 39245 w 498812"/>
                        <a:gd name="connsiteY14" fmla="*/ 327784 h 716860"/>
                        <a:gd name="connsiteX15" fmla="*/ 39245 w 498812"/>
                        <a:gd name="connsiteY15" fmla="*/ 716860 h 716860"/>
                        <a:gd name="connsiteX16" fmla="*/ 1864 w 498812"/>
                        <a:gd name="connsiteY16" fmla="*/ 716860 h 716860"/>
                        <a:gd name="connsiteX17" fmla="*/ 1864 w 498812"/>
                        <a:gd name="connsiteY17" fmla="*/ 651763 h 716860"/>
                        <a:gd name="connsiteX18" fmla="*/ 1864 w 498812"/>
                        <a:gd name="connsiteY18" fmla="*/ 330061 h 716860"/>
                        <a:gd name="connsiteX19" fmla="*/ 266 w 498812"/>
                        <a:gd name="connsiteY19" fmla="*/ 294156 h 7168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498812" h="716860">
                          <a:moveTo>
                            <a:pt x="266" y="294156"/>
                          </a:moveTo>
                          <a:cubicBezTo>
                            <a:pt x="2276" y="252383"/>
                            <a:pt x="15882" y="196045"/>
                            <a:pt x="48040" y="152511"/>
                          </a:cubicBezTo>
                          <a:cubicBezTo>
                            <a:pt x="78825" y="106985"/>
                            <a:pt x="122802" y="81946"/>
                            <a:pt x="176675" y="75117"/>
                          </a:cubicBezTo>
                          <a:cubicBezTo>
                            <a:pt x="177775" y="75117"/>
                            <a:pt x="177775" y="75117"/>
                            <a:pt x="178874" y="75117"/>
                          </a:cubicBezTo>
                          <a:cubicBezTo>
                            <a:pt x="281122" y="75117"/>
                            <a:pt x="281122" y="75117"/>
                            <a:pt x="281122" y="75117"/>
                          </a:cubicBezTo>
                          <a:cubicBezTo>
                            <a:pt x="303111" y="66012"/>
                            <a:pt x="326199" y="64874"/>
                            <a:pt x="349288" y="62598"/>
                          </a:cubicBezTo>
                          <a:cubicBezTo>
                            <a:pt x="396564" y="59183"/>
                            <a:pt x="438343" y="56907"/>
                            <a:pt x="465829" y="0"/>
                          </a:cubicBezTo>
                          <a:cubicBezTo>
                            <a:pt x="498812" y="18210"/>
                            <a:pt x="498812" y="18210"/>
                            <a:pt x="498812" y="18210"/>
                          </a:cubicBezTo>
                          <a:cubicBezTo>
                            <a:pt x="461431" y="93328"/>
                            <a:pt x="400962" y="97880"/>
                            <a:pt x="352586" y="101295"/>
                          </a:cubicBezTo>
                          <a:cubicBezTo>
                            <a:pt x="330597" y="103571"/>
                            <a:pt x="308608" y="104709"/>
                            <a:pt x="292117" y="112676"/>
                          </a:cubicBezTo>
                          <a:cubicBezTo>
                            <a:pt x="288818" y="113814"/>
                            <a:pt x="286620" y="113814"/>
                            <a:pt x="284421" y="113814"/>
                          </a:cubicBezTo>
                          <a:cubicBezTo>
                            <a:pt x="179974" y="113814"/>
                            <a:pt x="179974" y="113814"/>
                            <a:pt x="179974" y="113814"/>
                          </a:cubicBezTo>
                          <a:cubicBezTo>
                            <a:pt x="137095" y="119505"/>
                            <a:pt x="103013" y="139991"/>
                            <a:pt x="77725" y="175274"/>
                          </a:cubicBezTo>
                          <a:cubicBezTo>
                            <a:pt x="40344" y="227628"/>
                            <a:pt x="33748" y="298193"/>
                            <a:pt x="39245" y="324370"/>
                          </a:cubicBezTo>
                          <a:cubicBezTo>
                            <a:pt x="39245" y="325508"/>
                            <a:pt x="39245" y="326646"/>
                            <a:pt x="39245" y="327784"/>
                          </a:cubicBezTo>
                          <a:lnTo>
                            <a:pt x="39245" y="716860"/>
                          </a:lnTo>
                          <a:lnTo>
                            <a:pt x="1864" y="716860"/>
                          </a:lnTo>
                          <a:lnTo>
                            <a:pt x="1864" y="651763"/>
                          </a:lnTo>
                          <a:cubicBezTo>
                            <a:pt x="1864" y="330061"/>
                            <a:pt x="1864" y="330061"/>
                            <a:pt x="1864" y="330061"/>
                          </a:cubicBezTo>
                          <a:cubicBezTo>
                            <a:pt x="215" y="320387"/>
                            <a:pt x="-404" y="308081"/>
                            <a:pt x="266" y="294156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4" name="Freeform 63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9945058" y="1692033"/>
                      <a:ext cx="377688" cy="211234"/>
                    </a:xfrm>
                    <a:custGeom>
                      <a:avLst/>
                      <a:gdLst>
                        <a:gd name="connsiteX0" fmla="*/ 0 w 377688"/>
                        <a:gd name="connsiteY0" fmla="*/ 211234 h 211234"/>
                        <a:gd name="connsiteX1" fmla="*/ 2434 w 377688"/>
                        <a:gd name="connsiteY1" fmla="*/ 162783 h 211234"/>
                        <a:gd name="connsiteX2" fmla="*/ 47888 w 377688"/>
                        <a:gd name="connsiteY2" fmla="*/ 54959 h 211234"/>
                        <a:gd name="connsiteX3" fmla="*/ 377688 w 377688"/>
                        <a:gd name="connsiteY3" fmla="*/ 3766 h 211234"/>
                        <a:gd name="connsiteX4" fmla="*/ 375497 w 377688"/>
                        <a:gd name="connsiteY4" fmla="*/ 42445 h 211234"/>
                        <a:gd name="connsiteX5" fmla="*/ 74184 w 377688"/>
                        <a:gd name="connsiteY5" fmla="*/ 83399 h 211234"/>
                        <a:gd name="connsiteX6" fmla="*/ 39516 w 377688"/>
                        <a:gd name="connsiteY6" fmla="*/ 170906 h 211234"/>
                        <a:gd name="connsiteX7" fmla="*/ 38231 w 377688"/>
                        <a:gd name="connsiteY7" fmla="*/ 211234 h 2112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377688" h="211234">
                          <a:moveTo>
                            <a:pt x="0" y="211234"/>
                          </a:moveTo>
                          <a:lnTo>
                            <a:pt x="2434" y="162783"/>
                          </a:lnTo>
                          <a:cubicBezTo>
                            <a:pt x="8033" y="113403"/>
                            <a:pt x="22413" y="79701"/>
                            <a:pt x="47888" y="54959"/>
                          </a:cubicBezTo>
                          <a:cubicBezTo>
                            <a:pt x="98289" y="6041"/>
                            <a:pt x="187040" y="-7610"/>
                            <a:pt x="377688" y="3766"/>
                          </a:cubicBezTo>
                          <a:cubicBezTo>
                            <a:pt x="375497" y="42445"/>
                            <a:pt x="375497" y="42445"/>
                            <a:pt x="375497" y="42445"/>
                          </a:cubicBezTo>
                          <a:cubicBezTo>
                            <a:pt x="199092" y="31069"/>
                            <a:pt x="114725" y="42445"/>
                            <a:pt x="74184" y="83399"/>
                          </a:cubicBezTo>
                          <a:cubicBezTo>
                            <a:pt x="54462" y="102169"/>
                            <a:pt x="43368" y="129259"/>
                            <a:pt x="39516" y="170906"/>
                          </a:cubicBezTo>
                          <a:lnTo>
                            <a:pt x="38231" y="211234"/>
                          </a:ln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5" name="Freeform 63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216505" y="118823"/>
                      <a:ext cx="874655" cy="1251093"/>
                    </a:xfrm>
                    <a:custGeom>
                      <a:avLst/>
                      <a:gdLst>
                        <a:gd name="connsiteX0" fmla="*/ 0 w 874655"/>
                        <a:gd name="connsiteY0" fmla="*/ 38680 h 1251093"/>
                        <a:gd name="connsiteX1" fmla="*/ 0 w 874655"/>
                        <a:gd name="connsiteY1" fmla="*/ 0 h 1251093"/>
                        <a:gd name="connsiteX2" fmla="*/ 233754 w 874655"/>
                        <a:gd name="connsiteY2" fmla="*/ 3412 h 1251093"/>
                        <a:gd name="connsiteX3" fmla="*/ 237046 w 874655"/>
                        <a:gd name="connsiteY3" fmla="*/ 3412 h 1251093"/>
                        <a:gd name="connsiteX4" fmla="*/ 398369 w 874655"/>
                        <a:gd name="connsiteY4" fmla="*/ 179749 h 1251093"/>
                        <a:gd name="connsiteX5" fmla="*/ 399466 w 874655"/>
                        <a:gd name="connsiteY5" fmla="*/ 183162 h 1251093"/>
                        <a:gd name="connsiteX6" fmla="*/ 390687 w 874655"/>
                        <a:gd name="connsiteY6" fmla="*/ 906712 h 1251093"/>
                        <a:gd name="connsiteX7" fmla="*/ 545425 w 874655"/>
                        <a:gd name="connsiteY7" fmla="*/ 1068260 h 1251093"/>
                        <a:gd name="connsiteX8" fmla="*/ 683701 w 874655"/>
                        <a:gd name="connsiteY8" fmla="*/ 1068260 h 1251093"/>
                        <a:gd name="connsiteX9" fmla="*/ 874655 w 874655"/>
                        <a:gd name="connsiteY9" fmla="*/ 1233220 h 1251093"/>
                        <a:gd name="connsiteX10" fmla="*/ 874655 w 874655"/>
                        <a:gd name="connsiteY10" fmla="*/ 1237771 h 1251093"/>
                        <a:gd name="connsiteX11" fmla="*/ 874655 w 874655"/>
                        <a:gd name="connsiteY11" fmla="*/ 1251093 h 1251093"/>
                        <a:gd name="connsiteX12" fmla="*/ 837342 w 874655"/>
                        <a:gd name="connsiteY12" fmla="*/ 1251093 h 1251093"/>
                        <a:gd name="connsiteX13" fmla="*/ 837342 w 874655"/>
                        <a:gd name="connsiteY13" fmla="*/ 1247210 h 1251093"/>
                        <a:gd name="connsiteX14" fmla="*/ 837342 w 874655"/>
                        <a:gd name="connsiteY14" fmla="*/ 1241184 h 1251093"/>
                        <a:gd name="connsiteX15" fmla="*/ 683701 w 874655"/>
                        <a:gd name="connsiteY15" fmla="*/ 1106940 h 1251093"/>
                        <a:gd name="connsiteX16" fmla="*/ 544327 w 874655"/>
                        <a:gd name="connsiteY16" fmla="*/ 1106940 h 1251093"/>
                        <a:gd name="connsiteX17" fmla="*/ 542133 w 874655"/>
                        <a:gd name="connsiteY17" fmla="*/ 1106940 h 1251093"/>
                        <a:gd name="connsiteX18" fmla="*/ 353374 w 874655"/>
                        <a:gd name="connsiteY18" fmla="*/ 908988 h 1251093"/>
                        <a:gd name="connsiteX19" fmla="*/ 353374 w 874655"/>
                        <a:gd name="connsiteY19" fmla="*/ 907850 h 1251093"/>
                        <a:gd name="connsiteX20" fmla="*/ 362153 w 874655"/>
                        <a:gd name="connsiteY20" fmla="*/ 184300 h 1251093"/>
                        <a:gd name="connsiteX21" fmla="*/ 230461 w 874655"/>
                        <a:gd name="connsiteY21" fmla="*/ 42093 h 1251093"/>
                        <a:gd name="connsiteX22" fmla="*/ 0 w 874655"/>
                        <a:gd name="connsiteY22" fmla="*/ 38680 h 125109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</a:cxnLst>
                      <a:rect l="l" t="t" r="r" b="b"/>
                      <a:pathLst>
                        <a:path w="874655" h="1251093">
                          <a:moveTo>
                            <a:pt x="0" y="3868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33754" y="3412"/>
                            <a:pt x="233754" y="3412"/>
                            <a:pt x="233754" y="3412"/>
                          </a:cubicBezTo>
                          <a:cubicBezTo>
                            <a:pt x="234851" y="3412"/>
                            <a:pt x="235948" y="3412"/>
                            <a:pt x="237046" y="3412"/>
                          </a:cubicBezTo>
                          <a:cubicBezTo>
                            <a:pt x="358861" y="30716"/>
                            <a:pt x="387394" y="112628"/>
                            <a:pt x="398369" y="179749"/>
                          </a:cubicBezTo>
                          <a:cubicBezTo>
                            <a:pt x="399466" y="180887"/>
                            <a:pt x="399466" y="182025"/>
                            <a:pt x="399466" y="183162"/>
                          </a:cubicBezTo>
                          <a:cubicBezTo>
                            <a:pt x="390687" y="906712"/>
                            <a:pt x="390687" y="906712"/>
                            <a:pt x="390687" y="906712"/>
                          </a:cubicBezTo>
                          <a:cubicBezTo>
                            <a:pt x="400564" y="1029579"/>
                            <a:pt x="470799" y="1056883"/>
                            <a:pt x="545425" y="1068260"/>
                          </a:cubicBezTo>
                          <a:cubicBezTo>
                            <a:pt x="683701" y="1068260"/>
                            <a:pt x="683701" y="1068260"/>
                            <a:pt x="683701" y="1068260"/>
                          </a:cubicBezTo>
                          <a:cubicBezTo>
                            <a:pt x="823076" y="1069397"/>
                            <a:pt x="864778" y="1194540"/>
                            <a:pt x="874655" y="1233220"/>
                          </a:cubicBezTo>
                          <a:cubicBezTo>
                            <a:pt x="874655" y="1235495"/>
                            <a:pt x="874655" y="1236633"/>
                            <a:pt x="874655" y="1237771"/>
                          </a:cubicBezTo>
                          <a:lnTo>
                            <a:pt x="874655" y="1251093"/>
                          </a:lnTo>
                          <a:lnTo>
                            <a:pt x="837342" y="1251093"/>
                          </a:lnTo>
                          <a:lnTo>
                            <a:pt x="837342" y="1247210"/>
                          </a:lnTo>
                          <a:cubicBezTo>
                            <a:pt x="837342" y="1241184"/>
                            <a:pt x="837342" y="1241184"/>
                            <a:pt x="837342" y="1241184"/>
                          </a:cubicBezTo>
                          <a:cubicBezTo>
                            <a:pt x="826368" y="1199090"/>
                            <a:pt x="791250" y="1108078"/>
                            <a:pt x="683701" y="1106940"/>
                          </a:cubicBezTo>
                          <a:cubicBezTo>
                            <a:pt x="544327" y="1106940"/>
                            <a:pt x="544327" y="1106940"/>
                            <a:pt x="544327" y="1106940"/>
                          </a:cubicBezTo>
                          <a:cubicBezTo>
                            <a:pt x="543230" y="1106940"/>
                            <a:pt x="543230" y="1106940"/>
                            <a:pt x="542133" y="1106940"/>
                          </a:cubicBezTo>
                          <a:cubicBezTo>
                            <a:pt x="460922" y="1094426"/>
                            <a:pt x="365446" y="1061434"/>
                            <a:pt x="353374" y="908988"/>
                          </a:cubicBezTo>
                          <a:cubicBezTo>
                            <a:pt x="353374" y="908988"/>
                            <a:pt x="353374" y="907850"/>
                            <a:pt x="353374" y="907850"/>
                          </a:cubicBezTo>
                          <a:cubicBezTo>
                            <a:pt x="362153" y="184300"/>
                            <a:pt x="362153" y="184300"/>
                            <a:pt x="362153" y="184300"/>
                          </a:cubicBezTo>
                          <a:cubicBezTo>
                            <a:pt x="351179" y="124004"/>
                            <a:pt x="328133" y="64846"/>
                            <a:pt x="230461" y="42093"/>
                          </a:cubicBezTo>
                          <a:cubicBezTo>
                            <a:pt x="0" y="38680"/>
                            <a:pt x="0" y="38680"/>
                            <a:pt x="0" y="3868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6" name="Freeform 635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9938317" y="1410617"/>
                      <a:ext cx="664391" cy="484452"/>
                    </a:xfrm>
                    <a:custGeom>
                      <a:avLst/>
                      <a:gdLst>
                        <a:gd name="connsiteX0" fmla="*/ 45 w 664391"/>
                        <a:gd name="connsiteY0" fmla="*/ 252601 h 484452"/>
                        <a:gd name="connsiteX1" fmla="*/ 192211 w 664391"/>
                        <a:gd name="connsiteY1" fmla="*/ 13654 h 484452"/>
                        <a:gd name="connsiteX2" fmla="*/ 304217 w 664391"/>
                        <a:gd name="connsiteY2" fmla="*/ 9103 h 484452"/>
                        <a:gd name="connsiteX3" fmla="*/ 664391 w 664391"/>
                        <a:gd name="connsiteY3" fmla="*/ 0 h 484452"/>
                        <a:gd name="connsiteX4" fmla="*/ 664391 w 664391"/>
                        <a:gd name="connsiteY4" fmla="*/ 38687 h 484452"/>
                        <a:gd name="connsiteX5" fmla="*/ 306413 w 664391"/>
                        <a:gd name="connsiteY5" fmla="*/ 47789 h 484452"/>
                        <a:gd name="connsiteX6" fmla="*/ 193309 w 664391"/>
                        <a:gd name="connsiteY6" fmla="*/ 52341 h 484452"/>
                        <a:gd name="connsiteX7" fmla="*/ 37380 w 664391"/>
                        <a:gd name="connsiteY7" fmla="*/ 252601 h 484452"/>
                        <a:gd name="connsiteX8" fmla="*/ 38830 w 664391"/>
                        <a:gd name="connsiteY8" fmla="*/ 453159 h 484452"/>
                        <a:gd name="connsiteX9" fmla="*/ 39056 w 664391"/>
                        <a:gd name="connsiteY9" fmla="*/ 484452 h 484452"/>
                        <a:gd name="connsiteX10" fmla="*/ 1721 w 664391"/>
                        <a:gd name="connsiteY10" fmla="*/ 484452 h 484452"/>
                        <a:gd name="connsiteX11" fmla="*/ 1473 w 664391"/>
                        <a:gd name="connsiteY11" fmla="*/ 450044 h 484452"/>
                        <a:gd name="connsiteX12" fmla="*/ 45 w 664391"/>
                        <a:gd name="connsiteY12" fmla="*/ 252601 h 4844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664391" h="484452">
                          <a:moveTo>
                            <a:pt x="45" y="252601"/>
                          </a:moveTo>
                          <a:cubicBezTo>
                            <a:pt x="-2151" y="119473"/>
                            <a:pt x="78010" y="18205"/>
                            <a:pt x="192211" y="13654"/>
                          </a:cubicBezTo>
                          <a:cubicBezTo>
                            <a:pt x="227350" y="12516"/>
                            <a:pt x="264685" y="10241"/>
                            <a:pt x="304217" y="9103"/>
                          </a:cubicBezTo>
                          <a:cubicBezTo>
                            <a:pt x="415124" y="4551"/>
                            <a:pt x="541405" y="0"/>
                            <a:pt x="664391" y="0"/>
                          </a:cubicBezTo>
                          <a:cubicBezTo>
                            <a:pt x="664391" y="38687"/>
                            <a:pt x="664391" y="38687"/>
                            <a:pt x="664391" y="38687"/>
                          </a:cubicBezTo>
                          <a:cubicBezTo>
                            <a:pt x="542503" y="38687"/>
                            <a:pt x="416222" y="43238"/>
                            <a:pt x="306413" y="47789"/>
                          </a:cubicBezTo>
                          <a:cubicBezTo>
                            <a:pt x="266882" y="48927"/>
                            <a:pt x="229547" y="51203"/>
                            <a:pt x="193309" y="52341"/>
                          </a:cubicBezTo>
                          <a:cubicBezTo>
                            <a:pt x="101070" y="55754"/>
                            <a:pt x="35184" y="139954"/>
                            <a:pt x="37380" y="252601"/>
                          </a:cubicBezTo>
                          <a:cubicBezTo>
                            <a:pt x="37929" y="328552"/>
                            <a:pt x="38410" y="395009"/>
                            <a:pt x="38830" y="453159"/>
                          </a:cubicBezTo>
                          <a:lnTo>
                            <a:pt x="39056" y="484452"/>
                          </a:lnTo>
                          <a:lnTo>
                            <a:pt x="1721" y="484452"/>
                          </a:lnTo>
                          <a:lnTo>
                            <a:pt x="1473" y="450044"/>
                          </a:lnTo>
                          <a:cubicBezTo>
                            <a:pt x="45" y="252601"/>
                            <a:pt x="45" y="252601"/>
                            <a:pt x="45" y="252601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7" name="Freeform 19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242246" y="1048594"/>
                      <a:ext cx="184828" cy="241462"/>
                    </a:xfrm>
                    <a:custGeom>
                      <a:avLst/>
                      <a:gdLst>
                        <a:gd name="T0" fmla="*/ 95 w 169"/>
                        <a:gd name="T1" fmla="*/ 105 h 212"/>
                        <a:gd name="T2" fmla="*/ 134 w 169"/>
                        <a:gd name="T3" fmla="*/ 212 h 212"/>
                        <a:gd name="T4" fmla="*/ 113 w 169"/>
                        <a:gd name="T5" fmla="*/ 212 h 212"/>
                        <a:gd name="T6" fmla="*/ 85 w 169"/>
                        <a:gd name="T7" fmla="*/ 188 h 212"/>
                        <a:gd name="T8" fmla="*/ 56 w 169"/>
                        <a:gd name="T9" fmla="*/ 212 h 212"/>
                        <a:gd name="T10" fmla="*/ 36 w 169"/>
                        <a:gd name="T11" fmla="*/ 212 h 212"/>
                        <a:gd name="T12" fmla="*/ 74 w 169"/>
                        <a:gd name="T13" fmla="*/ 105 h 212"/>
                        <a:gd name="T14" fmla="*/ 67 w 169"/>
                        <a:gd name="T15" fmla="*/ 90 h 212"/>
                        <a:gd name="T16" fmla="*/ 85 w 169"/>
                        <a:gd name="T17" fmla="*/ 72 h 212"/>
                        <a:gd name="T18" fmla="*/ 102 w 169"/>
                        <a:gd name="T19" fmla="*/ 90 h 212"/>
                        <a:gd name="T20" fmla="*/ 95 w 169"/>
                        <a:gd name="T21" fmla="*/ 105 h 212"/>
                        <a:gd name="T22" fmla="*/ 85 w 169"/>
                        <a:gd name="T23" fmla="*/ 36 h 212"/>
                        <a:gd name="T24" fmla="*/ 136 w 169"/>
                        <a:gd name="T25" fmla="*/ 87 h 212"/>
                        <a:gd name="T26" fmla="*/ 112 w 169"/>
                        <a:gd name="T27" fmla="*/ 129 h 212"/>
                        <a:gd name="T28" fmla="*/ 111 w 169"/>
                        <a:gd name="T29" fmla="*/ 122 h 212"/>
                        <a:gd name="T30" fmla="*/ 126 w 169"/>
                        <a:gd name="T31" fmla="*/ 90 h 212"/>
                        <a:gd name="T32" fmla="*/ 85 w 169"/>
                        <a:gd name="T33" fmla="*/ 49 h 212"/>
                        <a:gd name="T34" fmla="*/ 44 w 169"/>
                        <a:gd name="T35" fmla="*/ 90 h 212"/>
                        <a:gd name="T36" fmla="*/ 59 w 169"/>
                        <a:gd name="T37" fmla="*/ 122 h 212"/>
                        <a:gd name="T38" fmla="*/ 57 w 169"/>
                        <a:gd name="T39" fmla="*/ 129 h 212"/>
                        <a:gd name="T40" fmla="*/ 35 w 169"/>
                        <a:gd name="T41" fmla="*/ 87 h 212"/>
                        <a:gd name="T42" fmla="*/ 85 w 169"/>
                        <a:gd name="T43" fmla="*/ 36 h 212"/>
                        <a:gd name="T44" fmla="*/ 85 w 169"/>
                        <a:gd name="T45" fmla="*/ 0 h 212"/>
                        <a:gd name="T46" fmla="*/ 169 w 169"/>
                        <a:gd name="T47" fmla="*/ 85 h 212"/>
                        <a:gd name="T48" fmla="*/ 123 w 169"/>
                        <a:gd name="T49" fmla="*/ 161 h 212"/>
                        <a:gd name="T50" fmla="*/ 120 w 169"/>
                        <a:gd name="T51" fmla="*/ 155 h 212"/>
                        <a:gd name="T52" fmla="*/ 160 w 169"/>
                        <a:gd name="T53" fmla="*/ 89 h 212"/>
                        <a:gd name="T54" fmla="*/ 85 w 169"/>
                        <a:gd name="T55" fmla="*/ 14 h 212"/>
                        <a:gd name="T56" fmla="*/ 11 w 169"/>
                        <a:gd name="T57" fmla="*/ 89 h 212"/>
                        <a:gd name="T58" fmla="*/ 49 w 169"/>
                        <a:gd name="T59" fmla="*/ 155 h 212"/>
                        <a:gd name="T60" fmla="*/ 47 w 169"/>
                        <a:gd name="T61" fmla="*/ 161 h 212"/>
                        <a:gd name="T62" fmla="*/ 0 w 169"/>
                        <a:gd name="T63" fmla="*/ 85 h 212"/>
                        <a:gd name="T64" fmla="*/ 85 w 169"/>
                        <a:gd name="T65" fmla="*/ 0 h 212"/>
                        <a:gd name="T66" fmla="*/ 85 w 169"/>
                        <a:gd name="T67" fmla="*/ 130 h 212"/>
                        <a:gd name="T68" fmla="*/ 93 w 169"/>
                        <a:gd name="T69" fmla="*/ 138 h 212"/>
                        <a:gd name="T70" fmla="*/ 85 w 169"/>
                        <a:gd name="T71" fmla="*/ 145 h 212"/>
                        <a:gd name="T72" fmla="*/ 76 w 169"/>
                        <a:gd name="T73" fmla="*/ 138 h 212"/>
                        <a:gd name="T74" fmla="*/ 85 w 169"/>
                        <a:gd name="T75" fmla="*/ 130 h 212"/>
                        <a:gd name="T76" fmla="*/ 85 w 169"/>
                        <a:gd name="T77" fmla="*/ 179 h 212"/>
                        <a:gd name="T78" fmla="*/ 99 w 169"/>
                        <a:gd name="T79" fmla="*/ 167 h 212"/>
                        <a:gd name="T80" fmla="*/ 85 w 169"/>
                        <a:gd name="T81" fmla="*/ 156 h 212"/>
                        <a:gd name="T82" fmla="*/ 71 w 169"/>
                        <a:gd name="T83" fmla="*/ 167 h 212"/>
                        <a:gd name="T84" fmla="*/ 85 w 169"/>
                        <a:gd name="T85" fmla="*/ 179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69" h="212">
                          <a:moveTo>
                            <a:pt x="95" y="105"/>
                          </a:moveTo>
                          <a:cubicBezTo>
                            <a:pt x="102" y="151"/>
                            <a:pt x="119" y="189"/>
                            <a:pt x="134" y="212"/>
                          </a:cubicBezTo>
                          <a:cubicBezTo>
                            <a:pt x="113" y="212"/>
                            <a:pt x="113" y="212"/>
                            <a:pt x="113" y="212"/>
                          </a:cubicBezTo>
                          <a:cubicBezTo>
                            <a:pt x="113" y="199"/>
                            <a:pt x="104" y="188"/>
                            <a:pt x="85" y="188"/>
                          </a:cubicBezTo>
                          <a:cubicBezTo>
                            <a:pt x="66" y="188"/>
                            <a:pt x="57" y="199"/>
                            <a:pt x="56" y="212"/>
                          </a:cubicBezTo>
                          <a:cubicBezTo>
                            <a:pt x="36" y="212"/>
                            <a:pt x="36" y="212"/>
                            <a:pt x="36" y="212"/>
                          </a:cubicBezTo>
                          <a:cubicBezTo>
                            <a:pt x="51" y="189"/>
                            <a:pt x="67" y="151"/>
                            <a:pt x="74" y="105"/>
                          </a:cubicBezTo>
                          <a:cubicBezTo>
                            <a:pt x="70" y="102"/>
                            <a:pt x="67" y="96"/>
                            <a:pt x="67" y="90"/>
                          </a:cubicBezTo>
                          <a:cubicBezTo>
                            <a:pt x="67" y="81"/>
                            <a:pt x="75" y="72"/>
                            <a:pt x="85" y="72"/>
                          </a:cubicBezTo>
                          <a:cubicBezTo>
                            <a:pt x="95" y="72"/>
                            <a:pt x="102" y="81"/>
                            <a:pt x="102" y="90"/>
                          </a:cubicBezTo>
                          <a:cubicBezTo>
                            <a:pt x="102" y="96"/>
                            <a:pt x="100" y="102"/>
                            <a:pt x="95" y="105"/>
                          </a:cubicBezTo>
                          <a:close/>
                          <a:moveTo>
                            <a:pt x="85" y="36"/>
                          </a:moveTo>
                          <a:cubicBezTo>
                            <a:pt x="113" y="36"/>
                            <a:pt x="136" y="59"/>
                            <a:pt x="136" y="87"/>
                          </a:cubicBezTo>
                          <a:cubicBezTo>
                            <a:pt x="136" y="105"/>
                            <a:pt x="126" y="120"/>
                            <a:pt x="112" y="129"/>
                          </a:cubicBezTo>
                          <a:cubicBezTo>
                            <a:pt x="112" y="127"/>
                            <a:pt x="111" y="125"/>
                            <a:pt x="111" y="122"/>
                          </a:cubicBezTo>
                          <a:cubicBezTo>
                            <a:pt x="120" y="115"/>
                            <a:pt x="126" y="104"/>
                            <a:pt x="126" y="90"/>
                          </a:cubicBezTo>
                          <a:cubicBezTo>
                            <a:pt x="126" y="67"/>
                            <a:pt x="108" y="49"/>
                            <a:pt x="85" y="49"/>
                          </a:cubicBezTo>
                          <a:cubicBezTo>
                            <a:pt x="62" y="49"/>
                            <a:pt x="44" y="67"/>
                            <a:pt x="44" y="90"/>
                          </a:cubicBezTo>
                          <a:cubicBezTo>
                            <a:pt x="44" y="104"/>
                            <a:pt x="49" y="115"/>
                            <a:pt x="59" y="122"/>
                          </a:cubicBezTo>
                          <a:cubicBezTo>
                            <a:pt x="59" y="125"/>
                            <a:pt x="57" y="127"/>
                            <a:pt x="57" y="129"/>
                          </a:cubicBezTo>
                          <a:cubicBezTo>
                            <a:pt x="44" y="120"/>
                            <a:pt x="35" y="105"/>
                            <a:pt x="35" y="87"/>
                          </a:cubicBezTo>
                          <a:cubicBezTo>
                            <a:pt x="35" y="59"/>
                            <a:pt x="56" y="36"/>
                            <a:pt x="85" y="36"/>
                          </a:cubicBezTo>
                          <a:close/>
                          <a:moveTo>
                            <a:pt x="85" y="0"/>
                          </a:moveTo>
                          <a:cubicBezTo>
                            <a:pt x="132" y="0"/>
                            <a:pt x="169" y="39"/>
                            <a:pt x="169" y="85"/>
                          </a:cubicBezTo>
                          <a:cubicBezTo>
                            <a:pt x="169" y="118"/>
                            <a:pt x="150" y="148"/>
                            <a:pt x="123" y="161"/>
                          </a:cubicBezTo>
                          <a:cubicBezTo>
                            <a:pt x="122" y="159"/>
                            <a:pt x="121" y="157"/>
                            <a:pt x="120" y="155"/>
                          </a:cubicBezTo>
                          <a:cubicBezTo>
                            <a:pt x="144" y="142"/>
                            <a:pt x="160" y="117"/>
                            <a:pt x="160" y="89"/>
                          </a:cubicBezTo>
                          <a:cubicBezTo>
                            <a:pt x="160" y="47"/>
                            <a:pt x="126" y="14"/>
                            <a:pt x="85" y="14"/>
                          </a:cubicBezTo>
                          <a:cubicBezTo>
                            <a:pt x="44" y="14"/>
                            <a:pt x="11" y="47"/>
                            <a:pt x="11" y="89"/>
                          </a:cubicBezTo>
                          <a:cubicBezTo>
                            <a:pt x="11" y="117"/>
                            <a:pt x="26" y="142"/>
                            <a:pt x="49" y="155"/>
                          </a:cubicBezTo>
                          <a:cubicBezTo>
                            <a:pt x="48" y="157"/>
                            <a:pt x="48" y="159"/>
                            <a:pt x="47" y="161"/>
                          </a:cubicBezTo>
                          <a:cubicBezTo>
                            <a:pt x="19" y="148"/>
                            <a:pt x="0" y="118"/>
                            <a:pt x="0" y="85"/>
                          </a:cubicBezTo>
                          <a:cubicBezTo>
                            <a:pt x="0" y="39"/>
                            <a:pt x="38" y="0"/>
                            <a:pt x="85" y="0"/>
                          </a:cubicBezTo>
                          <a:close/>
                          <a:moveTo>
                            <a:pt x="85" y="130"/>
                          </a:moveTo>
                          <a:cubicBezTo>
                            <a:pt x="91" y="130"/>
                            <a:pt x="93" y="134"/>
                            <a:pt x="93" y="138"/>
                          </a:cubicBezTo>
                          <a:cubicBezTo>
                            <a:pt x="93" y="141"/>
                            <a:pt x="91" y="145"/>
                            <a:pt x="85" y="145"/>
                          </a:cubicBezTo>
                          <a:cubicBezTo>
                            <a:pt x="78" y="145"/>
                            <a:pt x="76" y="141"/>
                            <a:pt x="76" y="138"/>
                          </a:cubicBezTo>
                          <a:cubicBezTo>
                            <a:pt x="76" y="134"/>
                            <a:pt x="78" y="130"/>
                            <a:pt x="85" y="130"/>
                          </a:cubicBezTo>
                          <a:close/>
                          <a:moveTo>
                            <a:pt x="85" y="179"/>
                          </a:moveTo>
                          <a:cubicBezTo>
                            <a:pt x="95" y="179"/>
                            <a:pt x="99" y="174"/>
                            <a:pt x="99" y="167"/>
                          </a:cubicBezTo>
                          <a:cubicBezTo>
                            <a:pt x="99" y="161"/>
                            <a:pt x="95" y="156"/>
                            <a:pt x="85" y="156"/>
                          </a:cubicBezTo>
                          <a:cubicBezTo>
                            <a:pt x="74" y="156"/>
                            <a:pt x="71" y="161"/>
                            <a:pt x="71" y="167"/>
                          </a:cubicBezTo>
                          <a:cubicBezTo>
                            <a:pt x="71" y="174"/>
                            <a:pt x="74" y="179"/>
                            <a:pt x="85" y="179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8" name="Freeform 19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33665" y="802912"/>
                      <a:ext cx="188741" cy="320267"/>
                    </a:xfrm>
                    <a:custGeom>
                      <a:avLst/>
                      <a:gdLst>
                        <a:gd name="T0" fmla="*/ 180 w 219"/>
                        <a:gd name="T1" fmla="*/ 29 h 358"/>
                        <a:gd name="T2" fmla="*/ 159 w 219"/>
                        <a:gd name="T3" fmla="*/ 35 h 358"/>
                        <a:gd name="T4" fmla="*/ 104 w 219"/>
                        <a:gd name="T5" fmla="*/ 0 h 358"/>
                        <a:gd name="T6" fmla="*/ 44 w 219"/>
                        <a:gd name="T7" fmla="*/ 48 h 358"/>
                        <a:gd name="T8" fmla="*/ 31 w 219"/>
                        <a:gd name="T9" fmla="*/ 45 h 358"/>
                        <a:gd name="T10" fmla="*/ 0 w 219"/>
                        <a:gd name="T11" fmla="*/ 76 h 358"/>
                        <a:gd name="T12" fmla="*/ 31 w 219"/>
                        <a:gd name="T13" fmla="*/ 108 h 358"/>
                        <a:gd name="T14" fmla="*/ 180 w 219"/>
                        <a:gd name="T15" fmla="*/ 108 h 358"/>
                        <a:gd name="T16" fmla="*/ 219 w 219"/>
                        <a:gd name="T17" fmla="*/ 68 h 358"/>
                        <a:gd name="T18" fmla="*/ 180 w 219"/>
                        <a:gd name="T19" fmla="*/ 29 h 358"/>
                        <a:gd name="T20" fmla="*/ 47 w 219"/>
                        <a:gd name="T21" fmla="*/ 299 h 358"/>
                        <a:gd name="T22" fmla="*/ 47 w 219"/>
                        <a:gd name="T23" fmla="*/ 353 h 358"/>
                        <a:gd name="T24" fmla="*/ 51 w 219"/>
                        <a:gd name="T25" fmla="*/ 358 h 358"/>
                        <a:gd name="T26" fmla="*/ 89 w 219"/>
                        <a:gd name="T27" fmla="*/ 358 h 358"/>
                        <a:gd name="T28" fmla="*/ 89 w 219"/>
                        <a:gd name="T29" fmla="*/ 307 h 358"/>
                        <a:gd name="T30" fmla="*/ 94 w 219"/>
                        <a:gd name="T31" fmla="*/ 303 h 358"/>
                        <a:gd name="T32" fmla="*/ 125 w 219"/>
                        <a:gd name="T33" fmla="*/ 303 h 358"/>
                        <a:gd name="T34" fmla="*/ 130 w 219"/>
                        <a:gd name="T35" fmla="*/ 307 h 358"/>
                        <a:gd name="T36" fmla="*/ 130 w 219"/>
                        <a:gd name="T37" fmla="*/ 358 h 358"/>
                        <a:gd name="T38" fmla="*/ 168 w 219"/>
                        <a:gd name="T39" fmla="*/ 358 h 358"/>
                        <a:gd name="T40" fmla="*/ 172 w 219"/>
                        <a:gd name="T41" fmla="*/ 353 h 358"/>
                        <a:gd name="T42" fmla="*/ 172 w 219"/>
                        <a:gd name="T43" fmla="*/ 299 h 358"/>
                        <a:gd name="T44" fmla="*/ 109 w 219"/>
                        <a:gd name="T45" fmla="*/ 243 h 358"/>
                        <a:gd name="T46" fmla="*/ 47 w 219"/>
                        <a:gd name="T47" fmla="*/ 299 h 358"/>
                        <a:gd name="T48" fmla="*/ 47 w 219"/>
                        <a:gd name="T49" fmla="*/ 299 h 358"/>
                        <a:gd name="T50" fmla="*/ 160 w 219"/>
                        <a:gd name="T51" fmla="*/ 218 h 358"/>
                        <a:gd name="T52" fmla="*/ 136 w 219"/>
                        <a:gd name="T53" fmla="*/ 218 h 358"/>
                        <a:gd name="T54" fmla="*/ 136 w 219"/>
                        <a:gd name="T55" fmla="*/ 235 h 358"/>
                        <a:gd name="T56" fmla="*/ 109 w 219"/>
                        <a:gd name="T57" fmla="*/ 212 h 358"/>
                        <a:gd name="T58" fmla="*/ 29 w 219"/>
                        <a:gd name="T59" fmla="*/ 283 h 358"/>
                        <a:gd name="T60" fmla="*/ 29 w 219"/>
                        <a:gd name="T61" fmla="*/ 304 h 358"/>
                        <a:gd name="T62" fmla="*/ 109 w 219"/>
                        <a:gd name="T63" fmla="*/ 234 h 358"/>
                        <a:gd name="T64" fmla="*/ 190 w 219"/>
                        <a:gd name="T65" fmla="*/ 304 h 358"/>
                        <a:gd name="T66" fmla="*/ 190 w 219"/>
                        <a:gd name="T67" fmla="*/ 283 h 358"/>
                        <a:gd name="T68" fmla="*/ 160 w 219"/>
                        <a:gd name="T69" fmla="*/ 256 h 358"/>
                        <a:gd name="T70" fmla="*/ 160 w 219"/>
                        <a:gd name="T71" fmla="*/ 218 h 358"/>
                        <a:gd name="T72" fmla="*/ 160 w 219"/>
                        <a:gd name="T73" fmla="*/ 218 h 358"/>
                        <a:gd name="T74" fmla="*/ 109 w 219"/>
                        <a:gd name="T75" fmla="*/ 189 h 358"/>
                        <a:gd name="T76" fmla="*/ 160 w 219"/>
                        <a:gd name="T77" fmla="*/ 159 h 358"/>
                        <a:gd name="T78" fmla="*/ 109 w 219"/>
                        <a:gd name="T79" fmla="*/ 180 h 358"/>
                        <a:gd name="T80" fmla="*/ 59 w 219"/>
                        <a:gd name="T81" fmla="*/ 159 h 358"/>
                        <a:gd name="T82" fmla="*/ 109 w 219"/>
                        <a:gd name="T83" fmla="*/ 189 h 358"/>
                        <a:gd name="T84" fmla="*/ 109 w 219"/>
                        <a:gd name="T85" fmla="*/ 164 h 358"/>
                        <a:gd name="T86" fmla="*/ 144 w 219"/>
                        <a:gd name="T87" fmla="*/ 141 h 358"/>
                        <a:gd name="T88" fmla="*/ 109 w 219"/>
                        <a:gd name="T89" fmla="*/ 156 h 358"/>
                        <a:gd name="T90" fmla="*/ 75 w 219"/>
                        <a:gd name="T91" fmla="*/ 141 h 358"/>
                        <a:gd name="T92" fmla="*/ 109 w 219"/>
                        <a:gd name="T93" fmla="*/ 164 h 358"/>
                        <a:gd name="T94" fmla="*/ 130 w 219"/>
                        <a:gd name="T95" fmla="*/ 127 h 358"/>
                        <a:gd name="T96" fmla="*/ 109 w 219"/>
                        <a:gd name="T97" fmla="*/ 135 h 358"/>
                        <a:gd name="T98" fmla="*/ 89 w 219"/>
                        <a:gd name="T99" fmla="*/ 127 h 358"/>
                        <a:gd name="T100" fmla="*/ 109 w 219"/>
                        <a:gd name="T101" fmla="*/ 142 h 358"/>
                        <a:gd name="T102" fmla="*/ 130 w 219"/>
                        <a:gd name="T103" fmla="*/ 127 h 3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219" h="358">
                          <a:moveTo>
                            <a:pt x="180" y="29"/>
                          </a:moveTo>
                          <a:cubicBezTo>
                            <a:pt x="172" y="29"/>
                            <a:pt x="165" y="31"/>
                            <a:pt x="159" y="35"/>
                          </a:cubicBezTo>
                          <a:cubicBezTo>
                            <a:pt x="149" y="14"/>
                            <a:pt x="128" y="0"/>
                            <a:pt x="104" y="0"/>
                          </a:cubicBezTo>
                          <a:cubicBezTo>
                            <a:pt x="74" y="0"/>
                            <a:pt x="50" y="20"/>
                            <a:pt x="44" y="48"/>
                          </a:cubicBezTo>
                          <a:cubicBezTo>
                            <a:pt x="40" y="46"/>
                            <a:pt x="36" y="45"/>
                            <a:pt x="31" y="45"/>
                          </a:cubicBezTo>
                          <a:cubicBezTo>
                            <a:pt x="14" y="45"/>
                            <a:pt x="0" y="59"/>
                            <a:pt x="0" y="76"/>
                          </a:cubicBezTo>
                          <a:cubicBezTo>
                            <a:pt x="0" y="94"/>
                            <a:pt x="14" y="108"/>
                            <a:pt x="31" y="108"/>
                          </a:cubicBezTo>
                          <a:cubicBezTo>
                            <a:pt x="180" y="108"/>
                            <a:pt x="180" y="108"/>
                            <a:pt x="180" y="108"/>
                          </a:cubicBezTo>
                          <a:cubicBezTo>
                            <a:pt x="201" y="108"/>
                            <a:pt x="219" y="90"/>
                            <a:pt x="219" y="68"/>
                          </a:cubicBezTo>
                          <a:cubicBezTo>
                            <a:pt x="219" y="46"/>
                            <a:pt x="201" y="29"/>
                            <a:pt x="180" y="29"/>
                          </a:cubicBezTo>
                          <a:close/>
                          <a:moveTo>
                            <a:pt x="47" y="299"/>
                          </a:moveTo>
                          <a:cubicBezTo>
                            <a:pt x="47" y="353"/>
                            <a:pt x="47" y="353"/>
                            <a:pt x="47" y="353"/>
                          </a:cubicBezTo>
                          <a:cubicBezTo>
                            <a:pt x="47" y="355"/>
                            <a:pt x="49" y="358"/>
                            <a:pt x="51" y="358"/>
                          </a:cubicBezTo>
                          <a:cubicBezTo>
                            <a:pt x="89" y="358"/>
                            <a:pt x="89" y="358"/>
                            <a:pt x="89" y="358"/>
                          </a:cubicBezTo>
                          <a:cubicBezTo>
                            <a:pt x="89" y="307"/>
                            <a:pt x="89" y="307"/>
                            <a:pt x="89" y="307"/>
                          </a:cubicBezTo>
                          <a:cubicBezTo>
                            <a:pt x="89" y="305"/>
                            <a:pt x="91" y="303"/>
                            <a:pt x="94" y="303"/>
                          </a:cubicBezTo>
                          <a:cubicBezTo>
                            <a:pt x="125" y="303"/>
                            <a:pt x="125" y="303"/>
                            <a:pt x="125" y="303"/>
                          </a:cubicBezTo>
                          <a:cubicBezTo>
                            <a:pt x="128" y="303"/>
                            <a:pt x="130" y="305"/>
                            <a:pt x="130" y="307"/>
                          </a:cubicBezTo>
                          <a:cubicBezTo>
                            <a:pt x="130" y="358"/>
                            <a:pt x="130" y="358"/>
                            <a:pt x="130" y="358"/>
                          </a:cubicBezTo>
                          <a:cubicBezTo>
                            <a:pt x="168" y="358"/>
                            <a:pt x="168" y="358"/>
                            <a:pt x="168" y="358"/>
                          </a:cubicBezTo>
                          <a:cubicBezTo>
                            <a:pt x="170" y="358"/>
                            <a:pt x="172" y="355"/>
                            <a:pt x="172" y="353"/>
                          </a:cubicBezTo>
                          <a:cubicBezTo>
                            <a:pt x="172" y="299"/>
                            <a:pt x="172" y="299"/>
                            <a:pt x="172" y="299"/>
                          </a:cubicBezTo>
                          <a:cubicBezTo>
                            <a:pt x="109" y="243"/>
                            <a:pt x="109" y="243"/>
                            <a:pt x="109" y="243"/>
                          </a:cubicBezTo>
                          <a:cubicBezTo>
                            <a:pt x="47" y="299"/>
                            <a:pt x="47" y="299"/>
                            <a:pt x="47" y="299"/>
                          </a:cubicBezTo>
                          <a:cubicBezTo>
                            <a:pt x="47" y="299"/>
                            <a:pt x="47" y="299"/>
                            <a:pt x="47" y="299"/>
                          </a:cubicBezTo>
                          <a:close/>
                          <a:moveTo>
                            <a:pt x="160" y="218"/>
                          </a:moveTo>
                          <a:cubicBezTo>
                            <a:pt x="136" y="218"/>
                            <a:pt x="136" y="218"/>
                            <a:pt x="136" y="218"/>
                          </a:cubicBezTo>
                          <a:cubicBezTo>
                            <a:pt x="136" y="235"/>
                            <a:pt x="136" y="235"/>
                            <a:pt x="136" y="235"/>
                          </a:cubicBezTo>
                          <a:cubicBezTo>
                            <a:pt x="109" y="212"/>
                            <a:pt x="109" y="212"/>
                            <a:pt x="109" y="212"/>
                          </a:cubicBezTo>
                          <a:cubicBezTo>
                            <a:pt x="29" y="283"/>
                            <a:pt x="29" y="283"/>
                            <a:pt x="29" y="283"/>
                          </a:cubicBezTo>
                          <a:cubicBezTo>
                            <a:pt x="29" y="304"/>
                            <a:pt x="29" y="304"/>
                            <a:pt x="29" y="304"/>
                          </a:cubicBezTo>
                          <a:cubicBezTo>
                            <a:pt x="109" y="234"/>
                            <a:pt x="109" y="234"/>
                            <a:pt x="109" y="234"/>
                          </a:cubicBezTo>
                          <a:cubicBezTo>
                            <a:pt x="190" y="304"/>
                            <a:pt x="190" y="304"/>
                            <a:pt x="190" y="304"/>
                          </a:cubicBezTo>
                          <a:cubicBezTo>
                            <a:pt x="190" y="283"/>
                            <a:pt x="190" y="283"/>
                            <a:pt x="190" y="283"/>
                          </a:cubicBezTo>
                          <a:cubicBezTo>
                            <a:pt x="160" y="256"/>
                            <a:pt x="160" y="256"/>
                            <a:pt x="160" y="256"/>
                          </a:cubicBezTo>
                          <a:cubicBezTo>
                            <a:pt x="160" y="218"/>
                            <a:pt x="160" y="218"/>
                            <a:pt x="160" y="218"/>
                          </a:cubicBezTo>
                          <a:cubicBezTo>
                            <a:pt x="160" y="218"/>
                            <a:pt x="160" y="218"/>
                            <a:pt x="160" y="218"/>
                          </a:cubicBezTo>
                          <a:close/>
                          <a:moveTo>
                            <a:pt x="109" y="189"/>
                          </a:moveTo>
                          <a:cubicBezTo>
                            <a:pt x="133" y="189"/>
                            <a:pt x="153" y="175"/>
                            <a:pt x="160" y="159"/>
                          </a:cubicBezTo>
                          <a:cubicBezTo>
                            <a:pt x="147" y="173"/>
                            <a:pt x="128" y="180"/>
                            <a:pt x="109" y="180"/>
                          </a:cubicBezTo>
                          <a:cubicBezTo>
                            <a:pt x="91" y="180"/>
                            <a:pt x="72" y="173"/>
                            <a:pt x="59" y="159"/>
                          </a:cubicBezTo>
                          <a:cubicBezTo>
                            <a:pt x="66" y="175"/>
                            <a:pt x="86" y="189"/>
                            <a:pt x="109" y="189"/>
                          </a:cubicBezTo>
                          <a:close/>
                          <a:moveTo>
                            <a:pt x="109" y="164"/>
                          </a:moveTo>
                          <a:cubicBezTo>
                            <a:pt x="127" y="164"/>
                            <a:pt x="140" y="152"/>
                            <a:pt x="144" y="141"/>
                          </a:cubicBezTo>
                          <a:cubicBezTo>
                            <a:pt x="135" y="150"/>
                            <a:pt x="122" y="156"/>
                            <a:pt x="109" y="156"/>
                          </a:cubicBezTo>
                          <a:cubicBezTo>
                            <a:pt x="96" y="156"/>
                            <a:pt x="84" y="150"/>
                            <a:pt x="75" y="141"/>
                          </a:cubicBezTo>
                          <a:cubicBezTo>
                            <a:pt x="79" y="152"/>
                            <a:pt x="92" y="164"/>
                            <a:pt x="109" y="164"/>
                          </a:cubicBezTo>
                          <a:close/>
                          <a:moveTo>
                            <a:pt x="130" y="127"/>
                          </a:moveTo>
                          <a:cubicBezTo>
                            <a:pt x="124" y="132"/>
                            <a:pt x="117" y="135"/>
                            <a:pt x="109" y="135"/>
                          </a:cubicBezTo>
                          <a:cubicBezTo>
                            <a:pt x="102" y="135"/>
                            <a:pt x="95" y="132"/>
                            <a:pt x="89" y="127"/>
                          </a:cubicBezTo>
                          <a:cubicBezTo>
                            <a:pt x="91" y="135"/>
                            <a:pt x="99" y="142"/>
                            <a:pt x="109" y="142"/>
                          </a:cubicBezTo>
                          <a:cubicBezTo>
                            <a:pt x="120" y="142"/>
                            <a:pt x="128" y="135"/>
                            <a:pt x="130" y="127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9" name="Freeform 1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639761" y="1680208"/>
                      <a:ext cx="187738" cy="241462"/>
                    </a:xfrm>
                    <a:custGeom>
                      <a:avLst/>
                      <a:gdLst>
                        <a:gd name="T0" fmla="*/ 62 w 171"/>
                        <a:gd name="T1" fmla="*/ 187 h 212"/>
                        <a:gd name="T2" fmla="*/ 118 w 171"/>
                        <a:gd name="T3" fmla="*/ 175 h 212"/>
                        <a:gd name="T4" fmla="*/ 118 w 171"/>
                        <a:gd name="T5" fmla="*/ 11 h 212"/>
                        <a:gd name="T6" fmla="*/ 62 w 171"/>
                        <a:gd name="T7" fmla="*/ 0 h 212"/>
                        <a:gd name="T8" fmla="*/ 55 w 171"/>
                        <a:gd name="T9" fmla="*/ 34 h 212"/>
                        <a:gd name="T10" fmla="*/ 74 w 171"/>
                        <a:gd name="T11" fmla="*/ 45 h 212"/>
                        <a:gd name="T12" fmla="*/ 58 w 171"/>
                        <a:gd name="T13" fmla="*/ 56 h 212"/>
                        <a:gd name="T14" fmla="*/ 74 w 171"/>
                        <a:gd name="T15" fmla="*/ 67 h 212"/>
                        <a:gd name="T16" fmla="*/ 59 w 171"/>
                        <a:gd name="T17" fmla="*/ 78 h 212"/>
                        <a:gd name="T18" fmla="*/ 74 w 171"/>
                        <a:gd name="T19" fmla="*/ 89 h 212"/>
                        <a:gd name="T20" fmla="*/ 53 w 171"/>
                        <a:gd name="T21" fmla="*/ 170 h 212"/>
                        <a:gd name="T22" fmla="*/ 85 w 171"/>
                        <a:gd name="T23" fmla="*/ 146 h 212"/>
                        <a:gd name="T24" fmla="*/ 85 w 171"/>
                        <a:gd name="T25" fmla="*/ 168 h 212"/>
                        <a:gd name="T26" fmla="*/ 85 w 171"/>
                        <a:gd name="T27" fmla="*/ 146 h 212"/>
                        <a:gd name="T28" fmla="*/ 90 w 171"/>
                        <a:gd name="T29" fmla="*/ 157 h 212"/>
                        <a:gd name="T30" fmla="*/ 80 w 171"/>
                        <a:gd name="T31" fmla="*/ 157 h 212"/>
                        <a:gd name="T32" fmla="*/ 129 w 171"/>
                        <a:gd name="T33" fmla="*/ 170 h 212"/>
                        <a:gd name="T34" fmla="*/ 125 w 171"/>
                        <a:gd name="T35" fmla="*/ 174 h 212"/>
                        <a:gd name="T36" fmla="*/ 108 w 171"/>
                        <a:gd name="T37" fmla="*/ 194 h 212"/>
                        <a:gd name="T38" fmla="*/ 49 w 171"/>
                        <a:gd name="T39" fmla="*/ 188 h 212"/>
                        <a:gd name="T40" fmla="*/ 45 w 171"/>
                        <a:gd name="T41" fmla="*/ 170 h 212"/>
                        <a:gd name="T42" fmla="*/ 26 w 171"/>
                        <a:gd name="T43" fmla="*/ 185 h 212"/>
                        <a:gd name="T44" fmla="*/ 41 w 171"/>
                        <a:gd name="T45" fmla="*/ 212 h 212"/>
                        <a:gd name="T46" fmla="*/ 144 w 171"/>
                        <a:gd name="T47" fmla="*/ 197 h 212"/>
                        <a:gd name="T48" fmla="*/ 129 w 171"/>
                        <a:gd name="T49" fmla="*/ 170 h 212"/>
                        <a:gd name="T50" fmla="*/ 127 w 171"/>
                        <a:gd name="T51" fmla="*/ 51 h 212"/>
                        <a:gd name="T52" fmla="*/ 138 w 171"/>
                        <a:gd name="T53" fmla="*/ 65 h 212"/>
                        <a:gd name="T54" fmla="*/ 43 w 171"/>
                        <a:gd name="T55" fmla="*/ 51 h 212"/>
                        <a:gd name="T56" fmla="*/ 43 w 171"/>
                        <a:gd name="T57" fmla="*/ 79 h 212"/>
                        <a:gd name="T58" fmla="*/ 164 w 171"/>
                        <a:gd name="T59" fmla="*/ 65 h 212"/>
                        <a:gd name="T60" fmla="*/ 170 w 171"/>
                        <a:gd name="T61" fmla="*/ 65 h 212"/>
                        <a:gd name="T62" fmla="*/ 137 w 171"/>
                        <a:gd name="T63" fmla="*/ 41 h 212"/>
                        <a:gd name="T64" fmla="*/ 137 w 171"/>
                        <a:gd name="T65" fmla="*/ 89 h 212"/>
                        <a:gd name="T66" fmla="*/ 137 w 171"/>
                        <a:gd name="T67" fmla="*/ 41 h 212"/>
                        <a:gd name="T68" fmla="*/ 34 w 171"/>
                        <a:gd name="T69" fmla="*/ 41 h 212"/>
                        <a:gd name="T70" fmla="*/ 34 w 171"/>
                        <a:gd name="T71" fmla="*/ 89 h 212"/>
                        <a:gd name="T72" fmla="*/ 21 w 171"/>
                        <a:gd name="T73" fmla="*/ 30 h 212"/>
                        <a:gd name="T74" fmla="*/ 21 w 171"/>
                        <a:gd name="T75" fmla="*/ 100 h 212"/>
                        <a:gd name="T76" fmla="*/ 21 w 171"/>
                        <a:gd name="T77" fmla="*/ 30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71" h="212">
                          <a:moveTo>
                            <a:pt x="52" y="175"/>
                          </a:moveTo>
                          <a:cubicBezTo>
                            <a:pt x="51" y="181"/>
                            <a:pt x="56" y="187"/>
                            <a:pt x="62" y="187"/>
                          </a:cubicBezTo>
                          <a:cubicBezTo>
                            <a:pt x="108" y="187"/>
                            <a:pt x="108" y="187"/>
                            <a:pt x="108" y="187"/>
                          </a:cubicBezTo>
                          <a:cubicBezTo>
                            <a:pt x="115" y="187"/>
                            <a:pt x="119" y="181"/>
                            <a:pt x="118" y="175"/>
                          </a:cubicBezTo>
                          <a:cubicBezTo>
                            <a:pt x="118" y="173"/>
                            <a:pt x="118" y="172"/>
                            <a:pt x="117" y="170"/>
                          </a:cubicBezTo>
                          <a:cubicBezTo>
                            <a:pt x="109" y="112"/>
                            <a:pt x="109" y="70"/>
                            <a:pt x="118" y="11"/>
                          </a:cubicBezTo>
                          <a:cubicBezTo>
                            <a:pt x="119" y="5"/>
                            <a:pt x="115" y="0"/>
                            <a:pt x="108" y="0"/>
                          </a:cubicBezTo>
                          <a:cubicBezTo>
                            <a:pt x="62" y="0"/>
                            <a:pt x="62" y="0"/>
                            <a:pt x="62" y="0"/>
                          </a:cubicBezTo>
                          <a:cubicBezTo>
                            <a:pt x="56" y="0"/>
                            <a:pt x="51" y="5"/>
                            <a:pt x="52" y="11"/>
                          </a:cubicBezTo>
                          <a:cubicBezTo>
                            <a:pt x="53" y="19"/>
                            <a:pt x="54" y="27"/>
                            <a:pt x="55" y="34"/>
                          </a:cubicBezTo>
                          <a:cubicBezTo>
                            <a:pt x="74" y="34"/>
                            <a:pt x="74" y="34"/>
                            <a:pt x="74" y="34"/>
                          </a:cubicBezTo>
                          <a:cubicBezTo>
                            <a:pt x="74" y="45"/>
                            <a:pt x="74" y="45"/>
                            <a:pt x="74" y="45"/>
                          </a:cubicBezTo>
                          <a:cubicBezTo>
                            <a:pt x="56" y="45"/>
                            <a:pt x="56" y="45"/>
                            <a:pt x="56" y="45"/>
                          </a:cubicBezTo>
                          <a:cubicBezTo>
                            <a:pt x="57" y="49"/>
                            <a:pt x="57" y="53"/>
                            <a:pt x="58" y="56"/>
                          </a:cubicBezTo>
                          <a:cubicBezTo>
                            <a:pt x="74" y="56"/>
                            <a:pt x="74" y="56"/>
                            <a:pt x="74" y="56"/>
                          </a:cubicBezTo>
                          <a:cubicBezTo>
                            <a:pt x="74" y="67"/>
                            <a:pt x="74" y="67"/>
                            <a:pt x="74" y="67"/>
                          </a:cubicBezTo>
                          <a:cubicBezTo>
                            <a:pt x="58" y="67"/>
                            <a:pt x="58" y="67"/>
                            <a:pt x="58" y="67"/>
                          </a:cubicBezTo>
                          <a:cubicBezTo>
                            <a:pt x="59" y="71"/>
                            <a:pt x="59" y="75"/>
                            <a:pt x="59" y="78"/>
                          </a:cubicBezTo>
                          <a:cubicBezTo>
                            <a:pt x="74" y="78"/>
                            <a:pt x="74" y="78"/>
                            <a:pt x="74" y="78"/>
                          </a:cubicBezTo>
                          <a:cubicBezTo>
                            <a:pt x="74" y="89"/>
                            <a:pt x="74" y="89"/>
                            <a:pt x="74" y="89"/>
                          </a:cubicBezTo>
                          <a:cubicBezTo>
                            <a:pt x="59" y="89"/>
                            <a:pt x="59" y="89"/>
                            <a:pt x="59" y="89"/>
                          </a:cubicBezTo>
                          <a:cubicBezTo>
                            <a:pt x="59" y="115"/>
                            <a:pt x="57" y="140"/>
                            <a:pt x="53" y="170"/>
                          </a:cubicBezTo>
                          <a:cubicBezTo>
                            <a:pt x="53" y="172"/>
                            <a:pt x="52" y="173"/>
                            <a:pt x="52" y="175"/>
                          </a:cubicBezTo>
                          <a:close/>
                          <a:moveTo>
                            <a:pt x="85" y="146"/>
                          </a:moveTo>
                          <a:cubicBezTo>
                            <a:pt x="91" y="146"/>
                            <a:pt x="97" y="151"/>
                            <a:pt x="97" y="157"/>
                          </a:cubicBezTo>
                          <a:cubicBezTo>
                            <a:pt x="97" y="163"/>
                            <a:pt x="91" y="168"/>
                            <a:pt x="85" y="168"/>
                          </a:cubicBezTo>
                          <a:cubicBezTo>
                            <a:pt x="79" y="168"/>
                            <a:pt x="74" y="163"/>
                            <a:pt x="74" y="157"/>
                          </a:cubicBezTo>
                          <a:cubicBezTo>
                            <a:pt x="74" y="151"/>
                            <a:pt x="79" y="146"/>
                            <a:pt x="85" y="146"/>
                          </a:cubicBezTo>
                          <a:close/>
                          <a:moveTo>
                            <a:pt x="85" y="162"/>
                          </a:moveTo>
                          <a:cubicBezTo>
                            <a:pt x="88" y="162"/>
                            <a:pt x="90" y="160"/>
                            <a:pt x="90" y="157"/>
                          </a:cubicBezTo>
                          <a:cubicBezTo>
                            <a:pt x="90" y="154"/>
                            <a:pt x="88" y="152"/>
                            <a:pt x="85" y="152"/>
                          </a:cubicBezTo>
                          <a:cubicBezTo>
                            <a:pt x="82" y="152"/>
                            <a:pt x="80" y="154"/>
                            <a:pt x="80" y="157"/>
                          </a:cubicBezTo>
                          <a:cubicBezTo>
                            <a:pt x="80" y="160"/>
                            <a:pt x="82" y="162"/>
                            <a:pt x="85" y="162"/>
                          </a:cubicBezTo>
                          <a:close/>
                          <a:moveTo>
                            <a:pt x="129" y="170"/>
                          </a:moveTo>
                          <a:cubicBezTo>
                            <a:pt x="125" y="170"/>
                            <a:pt x="125" y="170"/>
                            <a:pt x="125" y="170"/>
                          </a:cubicBezTo>
                          <a:cubicBezTo>
                            <a:pt x="125" y="171"/>
                            <a:pt x="125" y="173"/>
                            <a:pt x="125" y="174"/>
                          </a:cubicBezTo>
                          <a:cubicBezTo>
                            <a:pt x="126" y="179"/>
                            <a:pt x="125" y="184"/>
                            <a:pt x="121" y="188"/>
                          </a:cubicBezTo>
                          <a:cubicBezTo>
                            <a:pt x="118" y="192"/>
                            <a:pt x="114" y="194"/>
                            <a:pt x="108" y="194"/>
                          </a:cubicBezTo>
                          <a:cubicBezTo>
                            <a:pt x="62" y="194"/>
                            <a:pt x="62" y="194"/>
                            <a:pt x="62" y="194"/>
                          </a:cubicBezTo>
                          <a:cubicBezTo>
                            <a:pt x="57" y="194"/>
                            <a:pt x="52" y="192"/>
                            <a:pt x="49" y="188"/>
                          </a:cubicBezTo>
                          <a:cubicBezTo>
                            <a:pt x="45" y="184"/>
                            <a:pt x="44" y="179"/>
                            <a:pt x="45" y="174"/>
                          </a:cubicBezTo>
                          <a:cubicBezTo>
                            <a:pt x="45" y="173"/>
                            <a:pt x="45" y="171"/>
                            <a:pt x="45" y="170"/>
                          </a:cubicBezTo>
                          <a:cubicBezTo>
                            <a:pt x="41" y="170"/>
                            <a:pt x="41" y="170"/>
                            <a:pt x="41" y="170"/>
                          </a:cubicBezTo>
                          <a:cubicBezTo>
                            <a:pt x="33" y="170"/>
                            <a:pt x="26" y="177"/>
                            <a:pt x="26" y="185"/>
                          </a:cubicBezTo>
                          <a:cubicBezTo>
                            <a:pt x="26" y="197"/>
                            <a:pt x="26" y="197"/>
                            <a:pt x="26" y="197"/>
                          </a:cubicBezTo>
                          <a:cubicBezTo>
                            <a:pt x="26" y="205"/>
                            <a:pt x="33" y="212"/>
                            <a:pt x="41" y="212"/>
                          </a:cubicBezTo>
                          <a:cubicBezTo>
                            <a:pt x="129" y="212"/>
                            <a:pt x="129" y="212"/>
                            <a:pt x="129" y="212"/>
                          </a:cubicBezTo>
                          <a:cubicBezTo>
                            <a:pt x="137" y="212"/>
                            <a:pt x="144" y="205"/>
                            <a:pt x="144" y="197"/>
                          </a:cubicBezTo>
                          <a:cubicBezTo>
                            <a:pt x="144" y="185"/>
                            <a:pt x="144" y="185"/>
                            <a:pt x="144" y="185"/>
                          </a:cubicBezTo>
                          <a:cubicBezTo>
                            <a:pt x="144" y="177"/>
                            <a:pt x="137" y="170"/>
                            <a:pt x="129" y="170"/>
                          </a:cubicBezTo>
                          <a:close/>
                          <a:moveTo>
                            <a:pt x="138" y="65"/>
                          </a:moveTo>
                          <a:cubicBezTo>
                            <a:pt x="138" y="58"/>
                            <a:pt x="133" y="52"/>
                            <a:pt x="127" y="51"/>
                          </a:cubicBezTo>
                          <a:cubicBezTo>
                            <a:pt x="135" y="58"/>
                            <a:pt x="135" y="72"/>
                            <a:pt x="127" y="79"/>
                          </a:cubicBezTo>
                          <a:cubicBezTo>
                            <a:pt x="133" y="78"/>
                            <a:pt x="138" y="72"/>
                            <a:pt x="138" y="65"/>
                          </a:cubicBezTo>
                          <a:close/>
                          <a:moveTo>
                            <a:pt x="43" y="79"/>
                          </a:moveTo>
                          <a:cubicBezTo>
                            <a:pt x="35" y="72"/>
                            <a:pt x="35" y="58"/>
                            <a:pt x="43" y="51"/>
                          </a:cubicBezTo>
                          <a:cubicBezTo>
                            <a:pt x="38" y="52"/>
                            <a:pt x="32" y="58"/>
                            <a:pt x="33" y="65"/>
                          </a:cubicBezTo>
                          <a:cubicBezTo>
                            <a:pt x="32" y="72"/>
                            <a:pt x="38" y="78"/>
                            <a:pt x="43" y="79"/>
                          </a:cubicBezTo>
                          <a:close/>
                          <a:moveTo>
                            <a:pt x="150" y="30"/>
                          </a:moveTo>
                          <a:cubicBezTo>
                            <a:pt x="159" y="39"/>
                            <a:pt x="164" y="52"/>
                            <a:pt x="164" y="65"/>
                          </a:cubicBezTo>
                          <a:cubicBezTo>
                            <a:pt x="164" y="78"/>
                            <a:pt x="159" y="91"/>
                            <a:pt x="150" y="100"/>
                          </a:cubicBezTo>
                          <a:cubicBezTo>
                            <a:pt x="160" y="95"/>
                            <a:pt x="171" y="81"/>
                            <a:pt x="170" y="65"/>
                          </a:cubicBezTo>
                          <a:cubicBezTo>
                            <a:pt x="171" y="49"/>
                            <a:pt x="160" y="35"/>
                            <a:pt x="150" y="30"/>
                          </a:cubicBezTo>
                          <a:close/>
                          <a:moveTo>
                            <a:pt x="137" y="41"/>
                          </a:moveTo>
                          <a:cubicBezTo>
                            <a:pt x="143" y="47"/>
                            <a:pt x="147" y="56"/>
                            <a:pt x="147" y="65"/>
                          </a:cubicBezTo>
                          <a:cubicBezTo>
                            <a:pt x="147" y="74"/>
                            <a:pt x="143" y="83"/>
                            <a:pt x="137" y="89"/>
                          </a:cubicBezTo>
                          <a:cubicBezTo>
                            <a:pt x="145" y="86"/>
                            <a:pt x="153" y="77"/>
                            <a:pt x="153" y="65"/>
                          </a:cubicBezTo>
                          <a:cubicBezTo>
                            <a:pt x="153" y="53"/>
                            <a:pt x="145" y="44"/>
                            <a:pt x="137" y="41"/>
                          </a:cubicBezTo>
                          <a:close/>
                          <a:moveTo>
                            <a:pt x="23" y="65"/>
                          </a:moveTo>
                          <a:cubicBezTo>
                            <a:pt x="23" y="56"/>
                            <a:pt x="27" y="47"/>
                            <a:pt x="34" y="41"/>
                          </a:cubicBezTo>
                          <a:cubicBezTo>
                            <a:pt x="26" y="44"/>
                            <a:pt x="17" y="53"/>
                            <a:pt x="17" y="65"/>
                          </a:cubicBezTo>
                          <a:cubicBezTo>
                            <a:pt x="17" y="77"/>
                            <a:pt x="26" y="86"/>
                            <a:pt x="34" y="89"/>
                          </a:cubicBezTo>
                          <a:cubicBezTo>
                            <a:pt x="27" y="83"/>
                            <a:pt x="23" y="74"/>
                            <a:pt x="23" y="65"/>
                          </a:cubicBezTo>
                          <a:close/>
                          <a:moveTo>
                            <a:pt x="21" y="30"/>
                          </a:moveTo>
                          <a:cubicBezTo>
                            <a:pt x="10" y="35"/>
                            <a:pt x="0" y="49"/>
                            <a:pt x="0" y="65"/>
                          </a:cubicBezTo>
                          <a:cubicBezTo>
                            <a:pt x="0" y="81"/>
                            <a:pt x="10" y="95"/>
                            <a:pt x="21" y="100"/>
                          </a:cubicBezTo>
                          <a:cubicBezTo>
                            <a:pt x="11" y="91"/>
                            <a:pt x="6" y="78"/>
                            <a:pt x="6" y="65"/>
                          </a:cubicBezTo>
                          <a:cubicBezTo>
                            <a:pt x="6" y="52"/>
                            <a:pt x="11" y="39"/>
                            <a:pt x="21" y="3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0" name="Freeform 196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331851" y="762351"/>
                      <a:ext cx="215389" cy="215806"/>
                    </a:xfrm>
                    <a:custGeom>
                      <a:avLst/>
                      <a:gdLst>
                        <a:gd name="T0" fmla="*/ 155 w 196"/>
                        <a:gd name="T1" fmla="*/ 76 h 190"/>
                        <a:gd name="T2" fmla="*/ 147 w 196"/>
                        <a:gd name="T3" fmla="*/ 29 h 190"/>
                        <a:gd name="T4" fmla="*/ 117 w 196"/>
                        <a:gd name="T5" fmla="*/ 28 h 190"/>
                        <a:gd name="T6" fmla="*/ 92 w 196"/>
                        <a:gd name="T7" fmla="*/ 0 h 190"/>
                        <a:gd name="T8" fmla="*/ 70 w 196"/>
                        <a:gd name="T9" fmla="*/ 36 h 190"/>
                        <a:gd name="T10" fmla="*/ 35 w 196"/>
                        <a:gd name="T11" fmla="*/ 28 h 190"/>
                        <a:gd name="T12" fmla="*/ 21 w 196"/>
                        <a:gd name="T13" fmla="*/ 73 h 190"/>
                        <a:gd name="T14" fmla="*/ 0 w 196"/>
                        <a:gd name="T15" fmla="*/ 99 h 190"/>
                        <a:gd name="T16" fmla="*/ 29 w 196"/>
                        <a:gd name="T17" fmla="*/ 121 h 190"/>
                        <a:gd name="T18" fmla="*/ 14 w 196"/>
                        <a:gd name="T19" fmla="*/ 163 h 190"/>
                        <a:gd name="T20" fmla="*/ 66 w 196"/>
                        <a:gd name="T21" fmla="*/ 170 h 190"/>
                        <a:gd name="T22" fmla="*/ 91 w 196"/>
                        <a:gd name="T23" fmla="*/ 190 h 190"/>
                        <a:gd name="T24" fmla="*/ 93 w 196"/>
                        <a:gd name="T25" fmla="*/ 190 h 190"/>
                        <a:gd name="T26" fmla="*/ 102 w 196"/>
                        <a:gd name="T27" fmla="*/ 169 h 190"/>
                        <a:gd name="T28" fmla="*/ 143 w 196"/>
                        <a:gd name="T29" fmla="*/ 162 h 190"/>
                        <a:gd name="T30" fmla="*/ 161 w 196"/>
                        <a:gd name="T31" fmla="*/ 151 h 190"/>
                        <a:gd name="T32" fmla="*/ 178 w 196"/>
                        <a:gd name="T33" fmla="*/ 110 h 190"/>
                        <a:gd name="T34" fmla="*/ 167 w 196"/>
                        <a:gd name="T35" fmla="*/ 119 h 190"/>
                        <a:gd name="T36" fmla="*/ 119 w 196"/>
                        <a:gd name="T37" fmla="*/ 111 h 190"/>
                        <a:gd name="T38" fmla="*/ 158 w 196"/>
                        <a:gd name="T39" fmla="*/ 150 h 190"/>
                        <a:gd name="T40" fmla="*/ 112 w 196"/>
                        <a:gd name="T41" fmla="*/ 121 h 190"/>
                        <a:gd name="T42" fmla="*/ 123 w 196"/>
                        <a:gd name="T43" fmla="*/ 152 h 190"/>
                        <a:gd name="T44" fmla="*/ 103 w 196"/>
                        <a:gd name="T45" fmla="*/ 127 h 190"/>
                        <a:gd name="T46" fmla="*/ 99 w 196"/>
                        <a:gd name="T47" fmla="*/ 167 h 190"/>
                        <a:gd name="T48" fmla="*/ 91 w 196"/>
                        <a:gd name="T49" fmla="*/ 129 h 190"/>
                        <a:gd name="T50" fmla="*/ 75 w 196"/>
                        <a:gd name="T51" fmla="*/ 161 h 190"/>
                        <a:gd name="T52" fmla="*/ 69 w 196"/>
                        <a:gd name="T53" fmla="*/ 152 h 190"/>
                        <a:gd name="T54" fmla="*/ 37 w 196"/>
                        <a:gd name="T55" fmla="*/ 155 h 190"/>
                        <a:gd name="T56" fmla="*/ 31 w 196"/>
                        <a:gd name="T57" fmla="*/ 151 h 190"/>
                        <a:gd name="T58" fmla="*/ 47 w 196"/>
                        <a:gd name="T59" fmla="*/ 118 h 190"/>
                        <a:gd name="T60" fmla="*/ 38 w 196"/>
                        <a:gd name="T61" fmla="*/ 112 h 190"/>
                        <a:gd name="T62" fmla="*/ 62 w 196"/>
                        <a:gd name="T63" fmla="*/ 100 h 190"/>
                        <a:gd name="T64" fmla="*/ 21 w 196"/>
                        <a:gd name="T65" fmla="*/ 89 h 190"/>
                        <a:gd name="T66" fmla="*/ 64 w 196"/>
                        <a:gd name="T67" fmla="*/ 88 h 190"/>
                        <a:gd name="T68" fmla="*/ 33 w 196"/>
                        <a:gd name="T69" fmla="*/ 64 h 190"/>
                        <a:gd name="T70" fmla="*/ 70 w 196"/>
                        <a:gd name="T71" fmla="*/ 78 h 190"/>
                        <a:gd name="T72" fmla="*/ 60 w 196"/>
                        <a:gd name="T73" fmla="*/ 46 h 190"/>
                        <a:gd name="T74" fmla="*/ 81 w 196"/>
                        <a:gd name="T75" fmla="*/ 71 h 190"/>
                        <a:gd name="T76" fmla="*/ 86 w 196"/>
                        <a:gd name="T77" fmla="*/ 25 h 190"/>
                        <a:gd name="T78" fmla="*/ 93 w 196"/>
                        <a:gd name="T79" fmla="*/ 69 h 190"/>
                        <a:gd name="T80" fmla="*/ 108 w 196"/>
                        <a:gd name="T81" fmla="*/ 37 h 190"/>
                        <a:gd name="T82" fmla="*/ 115 w 196"/>
                        <a:gd name="T83" fmla="*/ 46 h 190"/>
                        <a:gd name="T84" fmla="*/ 134 w 196"/>
                        <a:gd name="T85" fmla="*/ 43 h 190"/>
                        <a:gd name="T86" fmla="*/ 139 w 196"/>
                        <a:gd name="T87" fmla="*/ 53 h 190"/>
                        <a:gd name="T88" fmla="*/ 137 w 196"/>
                        <a:gd name="T89" fmla="*/ 79 h 190"/>
                        <a:gd name="T90" fmla="*/ 146 w 196"/>
                        <a:gd name="T91" fmla="*/ 86 h 190"/>
                        <a:gd name="T92" fmla="*/ 122 w 196"/>
                        <a:gd name="T93" fmla="*/ 97 h 190"/>
                        <a:gd name="T94" fmla="*/ 175 w 196"/>
                        <a:gd name="T95" fmla="*/ 109 h 190"/>
                        <a:gd name="T96" fmla="*/ 116 w 196"/>
                        <a:gd name="T97" fmla="*/ 88 h 190"/>
                        <a:gd name="T98" fmla="*/ 101 w 196"/>
                        <a:gd name="T99" fmla="*/ 74 h 190"/>
                        <a:gd name="T100" fmla="*/ 83 w 196"/>
                        <a:gd name="T101" fmla="*/ 74 h 190"/>
                        <a:gd name="T102" fmla="*/ 68 w 196"/>
                        <a:gd name="T103" fmla="*/ 88 h 190"/>
                        <a:gd name="T104" fmla="*/ 66 w 196"/>
                        <a:gd name="T105" fmla="*/ 100 h 190"/>
                        <a:gd name="T106" fmla="*/ 74 w 196"/>
                        <a:gd name="T107" fmla="*/ 118 h 190"/>
                        <a:gd name="T108" fmla="*/ 92 w 196"/>
                        <a:gd name="T109" fmla="*/ 125 h 190"/>
                        <a:gd name="T110" fmla="*/ 109 w 196"/>
                        <a:gd name="T111" fmla="*/ 118 h 190"/>
                        <a:gd name="T112" fmla="*/ 118 w 196"/>
                        <a:gd name="T113" fmla="*/ 100 h 1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96" h="190">
                          <a:moveTo>
                            <a:pt x="183" y="85"/>
                          </a:moveTo>
                          <a:cubicBezTo>
                            <a:pt x="179" y="85"/>
                            <a:pt x="175" y="87"/>
                            <a:pt x="173" y="91"/>
                          </a:cubicBezTo>
                          <a:cubicBezTo>
                            <a:pt x="154" y="81"/>
                            <a:pt x="154" y="81"/>
                            <a:pt x="154" y="81"/>
                          </a:cubicBezTo>
                          <a:cubicBezTo>
                            <a:pt x="155" y="79"/>
                            <a:pt x="155" y="78"/>
                            <a:pt x="155" y="76"/>
                          </a:cubicBezTo>
                          <a:cubicBezTo>
                            <a:pt x="155" y="72"/>
                            <a:pt x="152" y="68"/>
                            <a:pt x="148" y="67"/>
                          </a:cubicBezTo>
                          <a:cubicBezTo>
                            <a:pt x="149" y="56"/>
                            <a:pt x="149" y="56"/>
                            <a:pt x="149" y="56"/>
                          </a:cubicBezTo>
                          <a:cubicBezTo>
                            <a:pt x="155" y="55"/>
                            <a:pt x="161" y="49"/>
                            <a:pt x="161" y="43"/>
                          </a:cubicBezTo>
                          <a:cubicBezTo>
                            <a:pt x="161" y="35"/>
                            <a:pt x="155" y="29"/>
                            <a:pt x="147" y="29"/>
                          </a:cubicBezTo>
                          <a:cubicBezTo>
                            <a:pt x="142" y="29"/>
                            <a:pt x="137" y="33"/>
                            <a:pt x="135" y="38"/>
                          </a:cubicBezTo>
                          <a:cubicBezTo>
                            <a:pt x="127" y="37"/>
                            <a:pt x="127" y="37"/>
                            <a:pt x="127" y="37"/>
                          </a:cubicBezTo>
                          <a:cubicBezTo>
                            <a:pt x="127" y="37"/>
                            <a:pt x="127" y="37"/>
                            <a:pt x="127" y="37"/>
                          </a:cubicBezTo>
                          <a:cubicBezTo>
                            <a:pt x="127" y="32"/>
                            <a:pt x="122" y="28"/>
                            <a:pt x="117" y="28"/>
                          </a:cubicBezTo>
                          <a:cubicBezTo>
                            <a:pt x="115" y="28"/>
                            <a:pt x="113" y="29"/>
                            <a:pt x="111" y="30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4" y="20"/>
                            <a:pt x="105" y="17"/>
                            <a:pt x="105" y="14"/>
                          </a:cubicBezTo>
                          <a:cubicBezTo>
                            <a:pt x="105" y="6"/>
                            <a:pt x="99" y="0"/>
                            <a:pt x="92" y="0"/>
                          </a:cubicBezTo>
                          <a:cubicBezTo>
                            <a:pt x="85" y="0"/>
                            <a:pt x="79" y="6"/>
                            <a:pt x="79" y="14"/>
                          </a:cubicBezTo>
                          <a:cubicBezTo>
                            <a:pt x="79" y="17"/>
                            <a:pt x="80" y="21"/>
                            <a:pt x="83" y="23"/>
                          </a:cubicBezTo>
                          <a:cubicBezTo>
                            <a:pt x="74" y="37"/>
                            <a:pt x="74" y="37"/>
                            <a:pt x="74" y="37"/>
                          </a:cubicBezTo>
                          <a:cubicBezTo>
                            <a:pt x="72" y="36"/>
                            <a:pt x="71" y="36"/>
                            <a:pt x="70" y="36"/>
                          </a:cubicBezTo>
                          <a:cubicBezTo>
                            <a:pt x="65" y="36"/>
                            <a:pt x="61" y="39"/>
                            <a:pt x="60" y="43"/>
                          </a:cubicBezTo>
                          <a:cubicBezTo>
                            <a:pt x="48" y="42"/>
                            <a:pt x="48" y="42"/>
                            <a:pt x="48" y="42"/>
                          </a:cubicBezTo>
                          <a:cubicBezTo>
                            <a:pt x="48" y="42"/>
                            <a:pt x="48" y="42"/>
                            <a:pt x="48" y="42"/>
                          </a:cubicBezTo>
                          <a:cubicBezTo>
                            <a:pt x="48" y="34"/>
                            <a:pt x="42" y="28"/>
                            <a:pt x="35" y="28"/>
                          </a:cubicBezTo>
                          <a:cubicBezTo>
                            <a:pt x="28" y="28"/>
                            <a:pt x="22" y="34"/>
                            <a:pt x="22" y="42"/>
                          </a:cubicBezTo>
                          <a:cubicBezTo>
                            <a:pt x="22" y="48"/>
                            <a:pt x="25" y="52"/>
                            <a:pt x="31" y="54"/>
                          </a:cubicBezTo>
                          <a:cubicBezTo>
                            <a:pt x="30" y="64"/>
                            <a:pt x="30" y="64"/>
                            <a:pt x="30" y="64"/>
                          </a:cubicBezTo>
                          <a:cubicBezTo>
                            <a:pt x="25" y="64"/>
                            <a:pt x="21" y="68"/>
                            <a:pt x="21" y="73"/>
                          </a:cubicBezTo>
                          <a:cubicBezTo>
                            <a:pt x="21" y="76"/>
                            <a:pt x="22" y="78"/>
                            <a:pt x="24" y="80"/>
                          </a:cubicBezTo>
                          <a:cubicBezTo>
                            <a:pt x="19" y="87"/>
                            <a:pt x="19" y="87"/>
                            <a:pt x="19" y="87"/>
                          </a:cubicBezTo>
                          <a:cubicBezTo>
                            <a:pt x="17" y="86"/>
                            <a:pt x="15" y="85"/>
                            <a:pt x="13" y="85"/>
                          </a:cubicBezTo>
                          <a:cubicBezTo>
                            <a:pt x="5" y="85"/>
                            <a:pt x="0" y="91"/>
                            <a:pt x="0" y="99"/>
                          </a:cubicBezTo>
                          <a:cubicBezTo>
                            <a:pt x="0" y="106"/>
                            <a:pt x="5" y="112"/>
                            <a:pt x="13" y="112"/>
                          </a:cubicBezTo>
                          <a:cubicBezTo>
                            <a:pt x="16" y="112"/>
                            <a:pt x="19" y="111"/>
                            <a:pt x="21" y="109"/>
                          </a:cubicBezTo>
                          <a:cubicBezTo>
                            <a:pt x="30" y="116"/>
                            <a:pt x="30" y="116"/>
                            <a:pt x="30" y="116"/>
                          </a:cubicBezTo>
                          <a:cubicBezTo>
                            <a:pt x="29" y="117"/>
                            <a:pt x="29" y="119"/>
                            <a:pt x="29" y="121"/>
                          </a:cubicBezTo>
                          <a:cubicBezTo>
                            <a:pt x="29" y="124"/>
                            <a:pt x="31" y="127"/>
                            <a:pt x="33" y="129"/>
                          </a:cubicBezTo>
                          <a:cubicBezTo>
                            <a:pt x="28" y="150"/>
                            <a:pt x="28" y="150"/>
                            <a:pt x="28" y="150"/>
                          </a:cubicBezTo>
                          <a:cubicBezTo>
                            <a:pt x="28" y="150"/>
                            <a:pt x="27" y="150"/>
                            <a:pt x="27" y="150"/>
                          </a:cubicBezTo>
                          <a:cubicBezTo>
                            <a:pt x="20" y="150"/>
                            <a:pt x="14" y="156"/>
                            <a:pt x="14" y="163"/>
                          </a:cubicBezTo>
                          <a:cubicBezTo>
                            <a:pt x="14" y="170"/>
                            <a:pt x="20" y="176"/>
                            <a:pt x="27" y="176"/>
                          </a:cubicBezTo>
                          <a:cubicBezTo>
                            <a:pt x="34" y="176"/>
                            <a:pt x="40" y="171"/>
                            <a:pt x="40" y="164"/>
                          </a:cubicBezTo>
                          <a:cubicBezTo>
                            <a:pt x="57" y="163"/>
                            <a:pt x="57" y="163"/>
                            <a:pt x="57" y="163"/>
                          </a:cubicBezTo>
                          <a:cubicBezTo>
                            <a:pt x="58" y="167"/>
                            <a:pt x="62" y="170"/>
                            <a:pt x="66" y="170"/>
                          </a:cubicBezTo>
                          <a:cubicBezTo>
                            <a:pt x="69" y="170"/>
                            <a:pt x="71" y="169"/>
                            <a:pt x="73" y="167"/>
                          </a:cubicBezTo>
                          <a:cubicBezTo>
                            <a:pt x="80" y="172"/>
                            <a:pt x="80" y="172"/>
                            <a:pt x="80" y="172"/>
                          </a:cubicBezTo>
                          <a:cubicBezTo>
                            <a:pt x="79" y="173"/>
                            <a:pt x="79" y="175"/>
                            <a:pt x="79" y="177"/>
                          </a:cubicBezTo>
                          <a:cubicBezTo>
                            <a:pt x="79" y="184"/>
                            <a:pt x="84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2" y="190"/>
                          </a:cubicBezTo>
                          <a:cubicBezTo>
                            <a:pt x="92" y="190"/>
                            <a:pt x="93" y="190"/>
                            <a:pt x="93" y="190"/>
                          </a:cubicBezTo>
                          <a:cubicBezTo>
                            <a:pt x="93" y="190"/>
                            <a:pt x="93" y="190"/>
                            <a:pt x="93" y="190"/>
                          </a:cubicBezTo>
                          <a:cubicBezTo>
                            <a:pt x="93" y="190"/>
                            <a:pt x="93" y="190"/>
                            <a:pt x="93" y="190"/>
                          </a:cubicBezTo>
                          <a:cubicBezTo>
                            <a:pt x="100" y="190"/>
                            <a:pt x="105" y="184"/>
                            <a:pt x="105" y="177"/>
                          </a:cubicBezTo>
                          <a:cubicBezTo>
                            <a:pt x="105" y="174"/>
                            <a:pt x="104" y="171"/>
                            <a:pt x="102" y="169"/>
                          </a:cubicBezTo>
                          <a:cubicBezTo>
                            <a:pt x="109" y="160"/>
                            <a:pt x="109" y="160"/>
                            <a:pt x="109" y="160"/>
                          </a:cubicBezTo>
                          <a:cubicBezTo>
                            <a:pt x="111" y="161"/>
                            <a:pt x="112" y="162"/>
                            <a:pt x="114" y="162"/>
                          </a:cubicBezTo>
                          <a:cubicBezTo>
                            <a:pt x="117" y="162"/>
                            <a:pt x="120" y="160"/>
                            <a:pt x="122" y="157"/>
                          </a:cubicBezTo>
                          <a:cubicBezTo>
                            <a:pt x="143" y="162"/>
                            <a:pt x="143" y="162"/>
                            <a:pt x="143" y="162"/>
                          </a:cubicBezTo>
                          <a:cubicBezTo>
                            <a:pt x="143" y="162"/>
                            <a:pt x="143" y="163"/>
                            <a:pt x="143" y="163"/>
                          </a:cubicBezTo>
                          <a:cubicBezTo>
                            <a:pt x="143" y="170"/>
                            <a:pt x="149" y="176"/>
                            <a:pt x="157" y="176"/>
                          </a:cubicBezTo>
                          <a:cubicBezTo>
                            <a:pt x="164" y="176"/>
                            <a:pt x="170" y="170"/>
                            <a:pt x="170" y="163"/>
                          </a:cubicBezTo>
                          <a:cubicBezTo>
                            <a:pt x="170" y="158"/>
                            <a:pt x="166" y="153"/>
                            <a:pt x="161" y="151"/>
                          </a:cubicBezTo>
                          <a:cubicBezTo>
                            <a:pt x="163" y="136"/>
                            <a:pt x="163" y="136"/>
                            <a:pt x="163" y="136"/>
                          </a:cubicBezTo>
                          <a:cubicBezTo>
                            <a:pt x="168" y="136"/>
                            <a:pt x="172" y="132"/>
                            <a:pt x="172" y="127"/>
                          </a:cubicBezTo>
                          <a:cubicBezTo>
                            <a:pt x="172" y="124"/>
                            <a:pt x="171" y="122"/>
                            <a:pt x="170" y="121"/>
                          </a:cubicBezTo>
                          <a:cubicBezTo>
                            <a:pt x="178" y="110"/>
                            <a:pt x="178" y="110"/>
                            <a:pt x="178" y="110"/>
                          </a:cubicBezTo>
                          <a:cubicBezTo>
                            <a:pt x="179" y="111"/>
                            <a:pt x="181" y="112"/>
                            <a:pt x="183" y="112"/>
                          </a:cubicBezTo>
                          <a:cubicBezTo>
                            <a:pt x="190" y="112"/>
                            <a:pt x="196" y="106"/>
                            <a:pt x="196" y="98"/>
                          </a:cubicBezTo>
                          <a:cubicBezTo>
                            <a:pt x="196" y="91"/>
                            <a:pt x="190" y="85"/>
                            <a:pt x="183" y="85"/>
                          </a:cubicBezTo>
                          <a:close/>
                          <a:moveTo>
                            <a:pt x="167" y="119"/>
                          </a:moveTo>
                          <a:cubicBezTo>
                            <a:pt x="166" y="118"/>
                            <a:pt x="164" y="117"/>
                            <a:pt x="162" y="117"/>
                          </a:cubicBezTo>
                          <a:cubicBezTo>
                            <a:pt x="158" y="117"/>
                            <a:pt x="155" y="120"/>
                            <a:pt x="154" y="123"/>
                          </a:cubicBezTo>
                          <a:cubicBezTo>
                            <a:pt x="120" y="109"/>
                            <a:pt x="120" y="109"/>
                            <a:pt x="120" y="109"/>
                          </a:cubicBezTo>
                          <a:cubicBezTo>
                            <a:pt x="120" y="110"/>
                            <a:pt x="119" y="110"/>
                            <a:pt x="119" y="111"/>
                          </a:cubicBezTo>
                          <a:cubicBezTo>
                            <a:pt x="153" y="125"/>
                            <a:pt x="153" y="125"/>
                            <a:pt x="153" y="125"/>
                          </a:cubicBezTo>
                          <a:cubicBezTo>
                            <a:pt x="153" y="125"/>
                            <a:pt x="153" y="126"/>
                            <a:pt x="153" y="127"/>
                          </a:cubicBezTo>
                          <a:cubicBezTo>
                            <a:pt x="153" y="131"/>
                            <a:pt x="156" y="135"/>
                            <a:pt x="160" y="136"/>
                          </a:cubicBezTo>
                          <a:cubicBezTo>
                            <a:pt x="158" y="150"/>
                            <a:pt x="158" y="150"/>
                            <a:pt x="158" y="150"/>
                          </a:cubicBezTo>
                          <a:cubicBezTo>
                            <a:pt x="158" y="150"/>
                            <a:pt x="157" y="150"/>
                            <a:pt x="157" y="150"/>
                          </a:cubicBezTo>
                          <a:cubicBezTo>
                            <a:pt x="153" y="150"/>
                            <a:pt x="150" y="151"/>
                            <a:pt x="148" y="153"/>
                          </a:cubicBezTo>
                          <a:cubicBezTo>
                            <a:pt x="114" y="119"/>
                            <a:pt x="114" y="119"/>
                            <a:pt x="114" y="119"/>
                          </a:cubicBezTo>
                          <a:cubicBezTo>
                            <a:pt x="113" y="119"/>
                            <a:pt x="113" y="120"/>
                            <a:pt x="112" y="121"/>
                          </a:cubicBezTo>
                          <a:cubicBezTo>
                            <a:pt x="146" y="155"/>
                            <a:pt x="146" y="155"/>
                            <a:pt x="146" y="155"/>
                          </a:cubicBezTo>
                          <a:cubicBezTo>
                            <a:pt x="145" y="156"/>
                            <a:pt x="145" y="157"/>
                            <a:pt x="144" y="159"/>
                          </a:cubicBezTo>
                          <a:cubicBezTo>
                            <a:pt x="123" y="154"/>
                            <a:pt x="123" y="154"/>
                            <a:pt x="123" y="154"/>
                          </a:cubicBezTo>
                          <a:cubicBezTo>
                            <a:pt x="123" y="153"/>
                            <a:pt x="123" y="153"/>
                            <a:pt x="123" y="152"/>
                          </a:cubicBezTo>
                          <a:cubicBezTo>
                            <a:pt x="123" y="147"/>
                            <a:pt x="119" y="143"/>
                            <a:pt x="114" y="143"/>
                          </a:cubicBezTo>
                          <a:cubicBezTo>
                            <a:pt x="113" y="143"/>
                            <a:pt x="112" y="143"/>
                            <a:pt x="111" y="143"/>
                          </a:cubicBezTo>
                          <a:cubicBezTo>
                            <a:pt x="104" y="126"/>
                            <a:pt x="104" y="126"/>
                            <a:pt x="104" y="126"/>
                          </a:cubicBezTo>
                          <a:cubicBezTo>
                            <a:pt x="104" y="126"/>
                            <a:pt x="103" y="126"/>
                            <a:pt x="103" y="127"/>
                          </a:cubicBezTo>
                          <a:cubicBezTo>
                            <a:pt x="110" y="144"/>
                            <a:pt x="110" y="144"/>
                            <a:pt x="110" y="144"/>
                          </a:cubicBezTo>
                          <a:cubicBezTo>
                            <a:pt x="107" y="145"/>
                            <a:pt x="105" y="149"/>
                            <a:pt x="105" y="152"/>
                          </a:cubicBezTo>
                          <a:cubicBezTo>
                            <a:pt x="105" y="155"/>
                            <a:pt x="105" y="157"/>
                            <a:pt x="107" y="158"/>
                          </a:cubicBezTo>
                          <a:cubicBezTo>
                            <a:pt x="99" y="167"/>
                            <a:pt x="99" y="167"/>
                            <a:pt x="99" y="167"/>
                          </a:cubicBezTo>
                          <a:cubicBezTo>
                            <a:pt x="98" y="165"/>
                            <a:pt x="95" y="164"/>
                            <a:pt x="93" y="164"/>
                          </a:cubicBezTo>
                          <a:cubicBezTo>
                            <a:pt x="93" y="129"/>
                            <a:pt x="93" y="129"/>
                            <a:pt x="93" y="129"/>
                          </a:cubicBezTo>
                          <a:cubicBezTo>
                            <a:pt x="93" y="129"/>
                            <a:pt x="92" y="129"/>
                            <a:pt x="92" y="129"/>
                          </a:cubicBezTo>
                          <a:cubicBezTo>
                            <a:pt x="91" y="129"/>
                            <a:pt x="91" y="129"/>
                            <a:pt x="91" y="129"/>
                          </a:cubicBezTo>
                          <a:cubicBezTo>
                            <a:pt x="91" y="164"/>
                            <a:pt x="91" y="164"/>
                            <a:pt x="91" y="164"/>
                          </a:cubicBezTo>
                          <a:cubicBezTo>
                            <a:pt x="87" y="165"/>
                            <a:pt x="84" y="166"/>
                            <a:pt x="82" y="169"/>
                          </a:cubicBezTo>
                          <a:cubicBezTo>
                            <a:pt x="75" y="164"/>
                            <a:pt x="75" y="164"/>
                            <a:pt x="75" y="164"/>
                          </a:cubicBezTo>
                          <a:cubicBezTo>
                            <a:pt x="75" y="163"/>
                            <a:pt x="75" y="162"/>
                            <a:pt x="75" y="161"/>
                          </a:cubicBezTo>
                          <a:cubicBezTo>
                            <a:pt x="75" y="157"/>
                            <a:pt x="73" y="154"/>
                            <a:pt x="70" y="152"/>
                          </a:cubicBezTo>
                          <a:cubicBezTo>
                            <a:pt x="81" y="127"/>
                            <a:pt x="81" y="127"/>
                            <a:pt x="81" y="127"/>
                          </a:cubicBezTo>
                          <a:cubicBezTo>
                            <a:pt x="81" y="126"/>
                            <a:pt x="80" y="126"/>
                            <a:pt x="80" y="126"/>
                          </a:cubicBezTo>
                          <a:cubicBezTo>
                            <a:pt x="69" y="152"/>
                            <a:pt x="69" y="152"/>
                            <a:pt x="69" y="152"/>
                          </a:cubicBezTo>
                          <a:cubicBezTo>
                            <a:pt x="68" y="151"/>
                            <a:pt x="67" y="151"/>
                            <a:pt x="66" y="151"/>
                          </a:cubicBezTo>
                          <a:cubicBezTo>
                            <a:pt x="61" y="151"/>
                            <a:pt x="57" y="155"/>
                            <a:pt x="57" y="160"/>
                          </a:cubicBezTo>
                          <a:cubicBezTo>
                            <a:pt x="40" y="161"/>
                            <a:pt x="40" y="161"/>
                            <a:pt x="40" y="161"/>
                          </a:cubicBezTo>
                          <a:cubicBezTo>
                            <a:pt x="40" y="159"/>
                            <a:pt x="39" y="157"/>
                            <a:pt x="37" y="155"/>
                          </a:cubicBezTo>
                          <a:cubicBezTo>
                            <a:pt x="72" y="121"/>
                            <a:pt x="72" y="121"/>
                            <a:pt x="72" y="121"/>
                          </a:cubicBezTo>
                          <a:cubicBezTo>
                            <a:pt x="71" y="120"/>
                            <a:pt x="70" y="119"/>
                            <a:pt x="70" y="119"/>
                          </a:cubicBezTo>
                          <a:cubicBezTo>
                            <a:pt x="36" y="153"/>
                            <a:pt x="36" y="153"/>
                            <a:pt x="36" y="153"/>
                          </a:cubicBezTo>
                          <a:cubicBezTo>
                            <a:pt x="34" y="152"/>
                            <a:pt x="33" y="151"/>
                            <a:pt x="31" y="151"/>
                          </a:cubicBezTo>
                          <a:cubicBezTo>
                            <a:pt x="37" y="130"/>
                            <a:pt x="37" y="130"/>
                            <a:pt x="37" y="130"/>
                          </a:cubicBezTo>
                          <a:cubicBezTo>
                            <a:pt x="37" y="130"/>
                            <a:pt x="38" y="130"/>
                            <a:pt x="38" y="130"/>
                          </a:cubicBezTo>
                          <a:cubicBezTo>
                            <a:pt x="43" y="130"/>
                            <a:pt x="48" y="126"/>
                            <a:pt x="48" y="121"/>
                          </a:cubicBezTo>
                          <a:cubicBezTo>
                            <a:pt x="48" y="120"/>
                            <a:pt x="47" y="119"/>
                            <a:pt x="47" y="118"/>
                          </a:cubicBezTo>
                          <a:cubicBezTo>
                            <a:pt x="65" y="111"/>
                            <a:pt x="65" y="111"/>
                            <a:pt x="65" y="111"/>
                          </a:cubicBezTo>
                          <a:cubicBezTo>
                            <a:pt x="64" y="110"/>
                            <a:pt x="64" y="110"/>
                            <a:pt x="64" y="109"/>
                          </a:cubicBezTo>
                          <a:cubicBezTo>
                            <a:pt x="47" y="117"/>
                            <a:pt x="47" y="117"/>
                            <a:pt x="47" y="117"/>
                          </a:cubicBezTo>
                          <a:cubicBezTo>
                            <a:pt x="45" y="114"/>
                            <a:pt x="42" y="112"/>
                            <a:pt x="38" y="112"/>
                          </a:cubicBezTo>
                          <a:cubicBezTo>
                            <a:pt x="36" y="112"/>
                            <a:pt x="34" y="112"/>
                            <a:pt x="32" y="114"/>
                          </a:cubicBezTo>
                          <a:cubicBezTo>
                            <a:pt x="23" y="106"/>
                            <a:pt x="23" y="106"/>
                            <a:pt x="23" y="106"/>
                          </a:cubicBezTo>
                          <a:cubicBezTo>
                            <a:pt x="25" y="104"/>
                            <a:pt x="26" y="102"/>
                            <a:pt x="26" y="100"/>
                          </a:cubicBezTo>
                          <a:cubicBezTo>
                            <a:pt x="62" y="100"/>
                            <a:pt x="62" y="100"/>
                            <a:pt x="62" y="100"/>
                          </a:cubicBezTo>
                          <a:cubicBezTo>
                            <a:pt x="62" y="100"/>
                            <a:pt x="62" y="99"/>
                            <a:pt x="62" y="99"/>
                          </a:cubicBezTo>
                          <a:cubicBezTo>
                            <a:pt x="62" y="98"/>
                            <a:pt x="62" y="98"/>
                            <a:pt x="62" y="97"/>
                          </a:cubicBezTo>
                          <a:cubicBezTo>
                            <a:pt x="26" y="97"/>
                            <a:pt x="26" y="97"/>
                            <a:pt x="26" y="97"/>
                          </a:cubicBezTo>
                          <a:cubicBezTo>
                            <a:pt x="26" y="94"/>
                            <a:pt x="24" y="91"/>
                            <a:pt x="21" y="89"/>
                          </a:cubicBezTo>
                          <a:cubicBezTo>
                            <a:pt x="27" y="82"/>
                            <a:pt x="27" y="82"/>
                            <a:pt x="27" y="82"/>
                          </a:cubicBezTo>
                          <a:cubicBezTo>
                            <a:pt x="28" y="82"/>
                            <a:pt x="29" y="82"/>
                            <a:pt x="30" y="82"/>
                          </a:cubicBezTo>
                          <a:cubicBezTo>
                            <a:pt x="34" y="82"/>
                            <a:pt x="37" y="80"/>
                            <a:pt x="39" y="77"/>
                          </a:cubicBezTo>
                          <a:cubicBezTo>
                            <a:pt x="64" y="88"/>
                            <a:pt x="64" y="88"/>
                            <a:pt x="64" y="88"/>
                          </a:cubicBezTo>
                          <a:cubicBezTo>
                            <a:pt x="64" y="87"/>
                            <a:pt x="64" y="87"/>
                            <a:pt x="65" y="86"/>
                          </a:cubicBezTo>
                          <a:cubicBezTo>
                            <a:pt x="39" y="76"/>
                            <a:pt x="39" y="76"/>
                            <a:pt x="39" y="76"/>
                          </a:cubicBezTo>
                          <a:cubicBezTo>
                            <a:pt x="39" y="75"/>
                            <a:pt x="40" y="74"/>
                            <a:pt x="40" y="73"/>
                          </a:cubicBezTo>
                          <a:cubicBezTo>
                            <a:pt x="40" y="69"/>
                            <a:pt x="37" y="65"/>
                            <a:pt x="33" y="64"/>
                          </a:cubicBezTo>
                          <a:cubicBezTo>
                            <a:pt x="34" y="55"/>
                            <a:pt x="34" y="55"/>
                            <a:pt x="34" y="55"/>
                          </a:cubicBezTo>
                          <a:cubicBezTo>
                            <a:pt x="34" y="55"/>
                            <a:pt x="35" y="55"/>
                            <a:pt x="35" y="55"/>
                          </a:cubicBezTo>
                          <a:cubicBezTo>
                            <a:pt x="38" y="55"/>
                            <a:pt x="41" y="54"/>
                            <a:pt x="43" y="52"/>
                          </a:cubicBezTo>
                          <a:cubicBezTo>
                            <a:pt x="70" y="78"/>
                            <a:pt x="70" y="78"/>
                            <a:pt x="70" y="78"/>
                          </a:cubicBezTo>
                          <a:cubicBezTo>
                            <a:pt x="70" y="78"/>
                            <a:pt x="71" y="77"/>
                            <a:pt x="72" y="77"/>
                          </a:cubicBezTo>
                          <a:cubicBezTo>
                            <a:pt x="45" y="50"/>
                            <a:pt x="45" y="50"/>
                            <a:pt x="45" y="50"/>
                          </a:cubicBezTo>
                          <a:cubicBezTo>
                            <a:pt x="46" y="49"/>
                            <a:pt x="47" y="47"/>
                            <a:pt x="48" y="45"/>
                          </a:cubicBezTo>
                          <a:cubicBezTo>
                            <a:pt x="60" y="46"/>
                            <a:pt x="60" y="46"/>
                            <a:pt x="60" y="46"/>
                          </a:cubicBezTo>
                          <a:cubicBezTo>
                            <a:pt x="61" y="51"/>
                            <a:pt x="65" y="55"/>
                            <a:pt x="70" y="55"/>
                          </a:cubicBezTo>
                          <a:cubicBezTo>
                            <a:pt x="71" y="55"/>
                            <a:pt x="72" y="55"/>
                            <a:pt x="73" y="54"/>
                          </a:cubicBezTo>
                          <a:cubicBezTo>
                            <a:pt x="80" y="71"/>
                            <a:pt x="80" y="71"/>
                            <a:pt x="80" y="71"/>
                          </a:cubicBezTo>
                          <a:cubicBezTo>
                            <a:pt x="80" y="71"/>
                            <a:pt x="81" y="71"/>
                            <a:pt x="81" y="71"/>
                          </a:cubicBezTo>
                          <a:cubicBezTo>
                            <a:pt x="74" y="54"/>
                            <a:pt x="74" y="54"/>
                            <a:pt x="74" y="54"/>
                          </a:cubicBezTo>
                          <a:cubicBezTo>
                            <a:pt x="77" y="52"/>
                            <a:pt x="79" y="49"/>
                            <a:pt x="79" y="45"/>
                          </a:cubicBezTo>
                          <a:cubicBezTo>
                            <a:pt x="79" y="43"/>
                            <a:pt x="78" y="40"/>
                            <a:pt x="76" y="39"/>
                          </a:cubicBezTo>
                          <a:cubicBezTo>
                            <a:pt x="86" y="25"/>
                            <a:pt x="86" y="25"/>
                            <a:pt x="86" y="25"/>
                          </a:cubicBezTo>
                          <a:cubicBezTo>
                            <a:pt x="87" y="26"/>
                            <a:pt x="89" y="27"/>
                            <a:pt x="91" y="27"/>
                          </a:cubicBezTo>
                          <a:cubicBezTo>
                            <a:pt x="91" y="69"/>
                            <a:pt x="91" y="69"/>
                            <a:pt x="91" y="69"/>
                          </a:cubicBezTo>
                          <a:cubicBezTo>
                            <a:pt x="91" y="69"/>
                            <a:pt x="91" y="69"/>
                            <a:pt x="92" y="69"/>
                          </a:cubicBezTo>
                          <a:cubicBezTo>
                            <a:pt x="92" y="69"/>
                            <a:pt x="93" y="69"/>
                            <a:pt x="93" y="69"/>
                          </a:cubicBezTo>
                          <a:cubicBezTo>
                            <a:pt x="93" y="27"/>
                            <a:pt x="93" y="27"/>
                            <a:pt x="93" y="27"/>
                          </a:cubicBezTo>
                          <a:cubicBezTo>
                            <a:pt x="96" y="26"/>
                            <a:pt x="98" y="26"/>
                            <a:pt x="100" y="24"/>
                          </a:cubicBezTo>
                          <a:cubicBezTo>
                            <a:pt x="109" y="33"/>
                            <a:pt x="109" y="33"/>
                            <a:pt x="109" y="33"/>
                          </a:cubicBezTo>
                          <a:cubicBezTo>
                            <a:pt x="108" y="34"/>
                            <a:pt x="108" y="35"/>
                            <a:pt x="108" y="37"/>
                          </a:cubicBezTo>
                          <a:cubicBezTo>
                            <a:pt x="108" y="41"/>
                            <a:pt x="110" y="44"/>
                            <a:pt x="113" y="45"/>
                          </a:cubicBezTo>
                          <a:cubicBezTo>
                            <a:pt x="103" y="71"/>
                            <a:pt x="103" y="71"/>
                            <a:pt x="103" y="71"/>
                          </a:cubicBezTo>
                          <a:cubicBezTo>
                            <a:pt x="103" y="71"/>
                            <a:pt x="104" y="71"/>
                            <a:pt x="104" y="71"/>
                          </a:cubicBezTo>
                          <a:cubicBezTo>
                            <a:pt x="115" y="46"/>
                            <a:pt x="115" y="46"/>
                            <a:pt x="115" y="46"/>
                          </a:cubicBezTo>
                          <a:cubicBezTo>
                            <a:pt x="115" y="46"/>
                            <a:pt x="116" y="46"/>
                            <a:pt x="117" y="46"/>
                          </a:cubicBezTo>
                          <a:cubicBezTo>
                            <a:pt x="121" y="46"/>
                            <a:pt x="125" y="44"/>
                            <a:pt x="126" y="40"/>
                          </a:cubicBezTo>
                          <a:cubicBezTo>
                            <a:pt x="134" y="41"/>
                            <a:pt x="134" y="41"/>
                            <a:pt x="134" y="41"/>
                          </a:cubicBezTo>
                          <a:cubicBezTo>
                            <a:pt x="134" y="42"/>
                            <a:pt x="134" y="42"/>
                            <a:pt x="134" y="43"/>
                          </a:cubicBezTo>
                          <a:cubicBezTo>
                            <a:pt x="134" y="46"/>
                            <a:pt x="135" y="49"/>
                            <a:pt x="137" y="51"/>
                          </a:cubicBezTo>
                          <a:cubicBezTo>
                            <a:pt x="112" y="77"/>
                            <a:pt x="112" y="77"/>
                            <a:pt x="112" y="77"/>
                          </a:cubicBezTo>
                          <a:cubicBezTo>
                            <a:pt x="113" y="77"/>
                            <a:pt x="113" y="78"/>
                            <a:pt x="114" y="78"/>
                          </a:cubicBezTo>
                          <a:cubicBezTo>
                            <a:pt x="139" y="53"/>
                            <a:pt x="139" y="53"/>
                            <a:pt x="139" y="53"/>
                          </a:cubicBezTo>
                          <a:cubicBezTo>
                            <a:pt x="141" y="54"/>
                            <a:pt x="143" y="55"/>
                            <a:pt x="146" y="56"/>
                          </a:cubicBezTo>
                          <a:cubicBezTo>
                            <a:pt x="145" y="67"/>
                            <a:pt x="145" y="67"/>
                            <a:pt x="145" y="67"/>
                          </a:cubicBezTo>
                          <a:cubicBezTo>
                            <a:pt x="140" y="67"/>
                            <a:pt x="136" y="71"/>
                            <a:pt x="136" y="76"/>
                          </a:cubicBezTo>
                          <a:cubicBezTo>
                            <a:pt x="136" y="77"/>
                            <a:pt x="136" y="78"/>
                            <a:pt x="137" y="79"/>
                          </a:cubicBezTo>
                          <a:cubicBezTo>
                            <a:pt x="119" y="86"/>
                            <a:pt x="119" y="86"/>
                            <a:pt x="119" y="86"/>
                          </a:cubicBezTo>
                          <a:cubicBezTo>
                            <a:pt x="119" y="87"/>
                            <a:pt x="120" y="87"/>
                            <a:pt x="120" y="88"/>
                          </a:cubicBezTo>
                          <a:cubicBezTo>
                            <a:pt x="137" y="81"/>
                            <a:pt x="137" y="81"/>
                            <a:pt x="137" y="81"/>
                          </a:cubicBezTo>
                          <a:cubicBezTo>
                            <a:pt x="139" y="84"/>
                            <a:pt x="142" y="86"/>
                            <a:pt x="146" y="86"/>
                          </a:cubicBezTo>
                          <a:cubicBezTo>
                            <a:pt x="148" y="86"/>
                            <a:pt x="150" y="85"/>
                            <a:pt x="152" y="83"/>
                          </a:cubicBezTo>
                          <a:cubicBezTo>
                            <a:pt x="171" y="93"/>
                            <a:pt x="171" y="93"/>
                            <a:pt x="171" y="93"/>
                          </a:cubicBezTo>
                          <a:cubicBezTo>
                            <a:pt x="170" y="95"/>
                            <a:pt x="170" y="96"/>
                            <a:pt x="170" y="97"/>
                          </a:cubicBezTo>
                          <a:cubicBezTo>
                            <a:pt x="122" y="97"/>
                            <a:pt x="122" y="97"/>
                            <a:pt x="122" y="97"/>
                          </a:cubicBezTo>
                          <a:cubicBezTo>
                            <a:pt x="122" y="98"/>
                            <a:pt x="122" y="98"/>
                            <a:pt x="122" y="99"/>
                          </a:cubicBezTo>
                          <a:cubicBezTo>
                            <a:pt x="122" y="99"/>
                            <a:pt x="122" y="100"/>
                            <a:pt x="122" y="100"/>
                          </a:cubicBezTo>
                          <a:cubicBezTo>
                            <a:pt x="170" y="100"/>
                            <a:pt x="170" y="100"/>
                            <a:pt x="170" y="100"/>
                          </a:cubicBezTo>
                          <a:cubicBezTo>
                            <a:pt x="170" y="103"/>
                            <a:pt x="172" y="107"/>
                            <a:pt x="175" y="109"/>
                          </a:cubicBezTo>
                          <a:cubicBezTo>
                            <a:pt x="167" y="119"/>
                            <a:pt x="167" y="119"/>
                            <a:pt x="167" y="119"/>
                          </a:cubicBezTo>
                          <a:cubicBezTo>
                            <a:pt x="167" y="119"/>
                            <a:pt x="167" y="119"/>
                            <a:pt x="167" y="119"/>
                          </a:cubicBezTo>
                          <a:close/>
                          <a:moveTo>
                            <a:pt x="116" y="89"/>
                          </a:moveTo>
                          <a:cubicBezTo>
                            <a:pt x="116" y="89"/>
                            <a:pt x="116" y="88"/>
                            <a:pt x="116" y="88"/>
                          </a:cubicBezTo>
                          <a:cubicBezTo>
                            <a:pt x="114" y="85"/>
                            <a:pt x="113" y="83"/>
                            <a:pt x="111" y="81"/>
                          </a:cubicBezTo>
                          <a:cubicBezTo>
                            <a:pt x="111" y="81"/>
                            <a:pt x="110" y="80"/>
                            <a:pt x="109" y="79"/>
                          </a:cubicBezTo>
                          <a:cubicBezTo>
                            <a:pt x="107" y="78"/>
                            <a:pt x="105" y="76"/>
                            <a:pt x="103" y="75"/>
                          </a:cubicBezTo>
                          <a:cubicBezTo>
                            <a:pt x="102" y="75"/>
                            <a:pt x="102" y="74"/>
                            <a:pt x="101" y="74"/>
                          </a:cubicBezTo>
                          <a:cubicBezTo>
                            <a:pt x="99" y="73"/>
                            <a:pt x="96" y="73"/>
                            <a:pt x="93" y="73"/>
                          </a:cubicBezTo>
                          <a:cubicBezTo>
                            <a:pt x="93" y="73"/>
                            <a:pt x="92" y="73"/>
                            <a:pt x="92" y="73"/>
                          </a:cubicBezTo>
                          <a:cubicBezTo>
                            <a:pt x="91" y="73"/>
                            <a:pt x="91" y="73"/>
                            <a:pt x="91" y="73"/>
                          </a:cubicBezTo>
                          <a:cubicBezTo>
                            <a:pt x="88" y="73"/>
                            <a:pt x="85" y="73"/>
                            <a:pt x="83" y="74"/>
                          </a:cubicBezTo>
                          <a:cubicBezTo>
                            <a:pt x="82" y="74"/>
                            <a:pt x="82" y="75"/>
                            <a:pt x="81" y="75"/>
                          </a:cubicBezTo>
                          <a:cubicBezTo>
                            <a:pt x="79" y="76"/>
                            <a:pt x="76" y="78"/>
                            <a:pt x="74" y="79"/>
                          </a:cubicBezTo>
                          <a:cubicBezTo>
                            <a:pt x="74" y="80"/>
                            <a:pt x="73" y="81"/>
                            <a:pt x="73" y="81"/>
                          </a:cubicBezTo>
                          <a:cubicBezTo>
                            <a:pt x="71" y="83"/>
                            <a:pt x="69" y="85"/>
                            <a:pt x="68" y="88"/>
                          </a:cubicBezTo>
                          <a:cubicBezTo>
                            <a:pt x="68" y="88"/>
                            <a:pt x="68" y="89"/>
                            <a:pt x="68" y="89"/>
                          </a:cubicBezTo>
                          <a:cubicBezTo>
                            <a:pt x="67" y="92"/>
                            <a:pt x="66" y="95"/>
                            <a:pt x="66" y="97"/>
                          </a:cubicBezTo>
                          <a:cubicBezTo>
                            <a:pt x="66" y="98"/>
                            <a:pt x="66" y="98"/>
                            <a:pt x="66" y="99"/>
                          </a:cubicBezTo>
                          <a:cubicBezTo>
                            <a:pt x="66" y="99"/>
                            <a:pt x="66" y="100"/>
                            <a:pt x="66" y="100"/>
                          </a:cubicBezTo>
                          <a:cubicBezTo>
                            <a:pt x="66" y="103"/>
                            <a:pt x="67" y="105"/>
                            <a:pt x="68" y="108"/>
                          </a:cubicBezTo>
                          <a:cubicBezTo>
                            <a:pt x="68" y="108"/>
                            <a:pt x="68" y="109"/>
                            <a:pt x="68" y="109"/>
                          </a:cubicBezTo>
                          <a:cubicBezTo>
                            <a:pt x="69" y="112"/>
                            <a:pt x="71" y="114"/>
                            <a:pt x="73" y="116"/>
                          </a:cubicBezTo>
                          <a:cubicBezTo>
                            <a:pt x="73" y="117"/>
                            <a:pt x="74" y="117"/>
                            <a:pt x="74" y="118"/>
                          </a:cubicBezTo>
                          <a:cubicBezTo>
                            <a:pt x="76" y="120"/>
                            <a:pt x="79" y="121"/>
                            <a:pt x="81" y="122"/>
                          </a:cubicBezTo>
                          <a:cubicBezTo>
                            <a:pt x="82" y="123"/>
                            <a:pt x="82" y="123"/>
                            <a:pt x="83" y="123"/>
                          </a:cubicBezTo>
                          <a:cubicBezTo>
                            <a:pt x="85" y="124"/>
                            <a:pt x="88" y="124"/>
                            <a:pt x="91" y="125"/>
                          </a:cubicBezTo>
                          <a:cubicBezTo>
                            <a:pt x="91" y="125"/>
                            <a:pt x="91" y="125"/>
                            <a:pt x="92" y="125"/>
                          </a:cubicBezTo>
                          <a:cubicBezTo>
                            <a:pt x="92" y="125"/>
                            <a:pt x="93" y="125"/>
                            <a:pt x="93" y="125"/>
                          </a:cubicBezTo>
                          <a:cubicBezTo>
                            <a:pt x="96" y="124"/>
                            <a:pt x="99" y="124"/>
                            <a:pt x="101" y="123"/>
                          </a:cubicBezTo>
                          <a:cubicBezTo>
                            <a:pt x="102" y="123"/>
                            <a:pt x="102" y="123"/>
                            <a:pt x="103" y="122"/>
                          </a:cubicBezTo>
                          <a:cubicBezTo>
                            <a:pt x="105" y="121"/>
                            <a:pt x="107" y="120"/>
                            <a:pt x="109" y="118"/>
                          </a:cubicBezTo>
                          <a:cubicBezTo>
                            <a:pt x="110" y="117"/>
                            <a:pt x="111" y="117"/>
                            <a:pt x="111" y="116"/>
                          </a:cubicBezTo>
                          <a:cubicBezTo>
                            <a:pt x="113" y="114"/>
                            <a:pt x="114" y="112"/>
                            <a:pt x="116" y="109"/>
                          </a:cubicBezTo>
                          <a:cubicBezTo>
                            <a:pt x="116" y="109"/>
                            <a:pt x="116" y="108"/>
                            <a:pt x="116" y="108"/>
                          </a:cubicBezTo>
                          <a:cubicBezTo>
                            <a:pt x="117" y="105"/>
                            <a:pt x="118" y="103"/>
                            <a:pt x="118" y="100"/>
                          </a:cubicBezTo>
                          <a:cubicBezTo>
                            <a:pt x="118" y="100"/>
                            <a:pt x="118" y="99"/>
                            <a:pt x="118" y="99"/>
                          </a:cubicBezTo>
                          <a:cubicBezTo>
                            <a:pt x="118" y="98"/>
                            <a:pt x="118" y="98"/>
                            <a:pt x="118" y="97"/>
                          </a:cubicBezTo>
                          <a:cubicBezTo>
                            <a:pt x="118" y="95"/>
                            <a:pt x="117" y="92"/>
                            <a:pt x="116" y="89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1" name="Freeform 19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442526" y="1165154"/>
                      <a:ext cx="353646" cy="226371"/>
                    </a:xfrm>
                    <a:custGeom>
                      <a:avLst/>
                      <a:gdLst>
                        <a:gd name="T0" fmla="*/ 149 w 323"/>
                        <a:gd name="T1" fmla="*/ 198 h 198"/>
                        <a:gd name="T2" fmla="*/ 192 w 323"/>
                        <a:gd name="T3" fmla="*/ 172 h 198"/>
                        <a:gd name="T4" fmla="*/ 139 w 323"/>
                        <a:gd name="T5" fmla="*/ 191 h 198"/>
                        <a:gd name="T6" fmla="*/ 146 w 323"/>
                        <a:gd name="T7" fmla="*/ 192 h 198"/>
                        <a:gd name="T8" fmla="*/ 184 w 323"/>
                        <a:gd name="T9" fmla="*/ 180 h 198"/>
                        <a:gd name="T10" fmla="*/ 98 w 323"/>
                        <a:gd name="T11" fmla="*/ 109 h 198"/>
                        <a:gd name="T12" fmla="*/ 187 w 323"/>
                        <a:gd name="T13" fmla="*/ 113 h 198"/>
                        <a:gd name="T14" fmla="*/ 234 w 323"/>
                        <a:gd name="T15" fmla="*/ 76 h 198"/>
                        <a:gd name="T16" fmla="*/ 83 w 323"/>
                        <a:gd name="T17" fmla="*/ 31 h 198"/>
                        <a:gd name="T18" fmla="*/ 178 w 323"/>
                        <a:gd name="T19" fmla="*/ 79 h 198"/>
                        <a:gd name="T20" fmla="*/ 176 w 323"/>
                        <a:gd name="T21" fmla="*/ 58 h 198"/>
                        <a:gd name="T22" fmla="*/ 196 w 323"/>
                        <a:gd name="T23" fmla="*/ 49 h 198"/>
                        <a:gd name="T24" fmla="*/ 153 w 323"/>
                        <a:gd name="T25" fmla="*/ 30 h 198"/>
                        <a:gd name="T26" fmla="*/ 215 w 323"/>
                        <a:gd name="T27" fmla="*/ 89 h 198"/>
                        <a:gd name="T28" fmla="*/ 208 w 323"/>
                        <a:gd name="T29" fmla="*/ 44 h 198"/>
                        <a:gd name="T30" fmla="*/ 189 w 323"/>
                        <a:gd name="T31" fmla="*/ 21 h 198"/>
                        <a:gd name="T32" fmla="*/ 189 w 323"/>
                        <a:gd name="T33" fmla="*/ 21 h 198"/>
                        <a:gd name="T34" fmla="*/ 161 w 323"/>
                        <a:gd name="T35" fmla="*/ 7 h 198"/>
                        <a:gd name="T36" fmla="*/ 101 w 323"/>
                        <a:gd name="T37" fmla="*/ 57 h 198"/>
                        <a:gd name="T38" fmla="*/ 101 w 323"/>
                        <a:gd name="T39" fmla="*/ 49 h 198"/>
                        <a:gd name="T40" fmla="*/ 121 w 323"/>
                        <a:gd name="T41" fmla="*/ 58 h 198"/>
                        <a:gd name="T42" fmla="*/ 115 w 323"/>
                        <a:gd name="T43" fmla="*/ 89 h 198"/>
                        <a:gd name="T44" fmla="*/ 144 w 323"/>
                        <a:gd name="T45" fmla="*/ 30 h 198"/>
                        <a:gd name="T46" fmla="*/ 123 w 323"/>
                        <a:gd name="T47" fmla="*/ 11 h 198"/>
                        <a:gd name="T48" fmla="*/ 114 w 323"/>
                        <a:gd name="T49" fmla="*/ 19 h 198"/>
                        <a:gd name="T50" fmla="*/ 87 w 323"/>
                        <a:gd name="T51" fmla="*/ 38 h 198"/>
                        <a:gd name="T52" fmla="*/ 97 w 323"/>
                        <a:gd name="T53" fmla="*/ 54 h 198"/>
                        <a:gd name="T54" fmla="*/ 46 w 323"/>
                        <a:gd name="T55" fmla="*/ 101 h 198"/>
                        <a:gd name="T56" fmla="*/ 156 w 323"/>
                        <a:gd name="T57" fmla="*/ 141 h 198"/>
                        <a:gd name="T58" fmla="*/ 241 w 323"/>
                        <a:gd name="T59" fmla="*/ 83 h 198"/>
                        <a:gd name="T60" fmla="*/ 0 w 323"/>
                        <a:gd name="T61" fmla="*/ 119 h 198"/>
                        <a:gd name="T62" fmla="*/ 146 w 323"/>
                        <a:gd name="T63" fmla="*/ 169 h 198"/>
                        <a:gd name="T64" fmla="*/ 241 w 323"/>
                        <a:gd name="T65" fmla="*/ 123 h 198"/>
                        <a:gd name="T66" fmla="*/ 12 w 323"/>
                        <a:gd name="T67" fmla="*/ 108 h 198"/>
                        <a:gd name="T68" fmla="*/ 28 w 323"/>
                        <a:gd name="T69" fmla="*/ 108 h 198"/>
                        <a:gd name="T70" fmla="*/ 65 w 323"/>
                        <a:gd name="T71" fmla="*/ 127 h 198"/>
                        <a:gd name="T72" fmla="*/ 61 w 323"/>
                        <a:gd name="T73" fmla="*/ 101 h 198"/>
                        <a:gd name="T74" fmla="*/ 64 w 323"/>
                        <a:gd name="T75" fmla="*/ 113 h 198"/>
                        <a:gd name="T76" fmla="*/ 72 w 323"/>
                        <a:gd name="T77" fmla="*/ 130 h 198"/>
                        <a:gd name="T78" fmla="*/ 72 w 323"/>
                        <a:gd name="T79" fmla="*/ 114 h 198"/>
                        <a:gd name="T80" fmla="*/ 87 w 323"/>
                        <a:gd name="T81" fmla="*/ 141 h 198"/>
                        <a:gd name="T82" fmla="*/ 94 w 323"/>
                        <a:gd name="T83" fmla="*/ 129 h 198"/>
                        <a:gd name="T84" fmla="*/ 127 w 323"/>
                        <a:gd name="T85" fmla="*/ 154 h 198"/>
                        <a:gd name="T86" fmla="*/ 132 w 323"/>
                        <a:gd name="T87" fmla="*/ 139 h 198"/>
                        <a:gd name="T88" fmla="*/ 148 w 323"/>
                        <a:gd name="T89" fmla="*/ 145 h 198"/>
                        <a:gd name="T90" fmla="*/ 195 w 323"/>
                        <a:gd name="T91" fmla="*/ 153 h 198"/>
                        <a:gd name="T92" fmla="*/ 180 w 323"/>
                        <a:gd name="T93" fmla="*/ 140 h 198"/>
                        <a:gd name="T94" fmla="*/ 192 w 323"/>
                        <a:gd name="T95" fmla="*/ 150 h 198"/>
                        <a:gd name="T96" fmla="*/ 214 w 323"/>
                        <a:gd name="T97" fmla="*/ 141 h 198"/>
                        <a:gd name="T98" fmla="*/ 218 w 323"/>
                        <a:gd name="T99" fmla="*/ 121 h 198"/>
                        <a:gd name="T100" fmla="*/ 234 w 323"/>
                        <a:gd name="T101" fmla="*/ 130 h 198"/>
                        <a:gd name="T102" fmla="*/ 237 w 323"/>
                        <a:gd name="T103" fmla="*/ 104 h 198"/>
                        <a:gd name="T104" fmla="*/ 271 w 323"/>
                        <a:gd name="T105" fmla="*/ 112 h 198"/>
                        <a:gd name="T106" fmla="*/ 281 w 323"/>
                        <a:gd name="T107" fmla="*/ 108 h 198"/>
                        <a:gd name="T108" fmla="*/ 97 w 323"/>
                        <a:gd name="T109" fmla="*/ 136 h 198"/>
                        <a:gd name="T110" fmla="*/ 232 w 323"/>
                        <a:gd name="T111" fmla="*/ 116 h 1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323" h="198">
                          <a:moveTo>
                            <a:pt x="148" y="178"/>
                          </a:moveTo>
                          <a:cubicBezTo>
                            <a:pt x="130" y="178"/>
                            <a:pt x="111" y="175"/>
                            <a:pt x="95" y="169"/>
                          </a:cubicBezTo>
                          <a:cubicBezTo>
                            <a:pt x="89" y="167"/>
                            <a:pt x="83" y="164"/>
                            <a:pt x="78" y="161"/>
                          </a:cubicBezTo>
                          <a:cubicBezTo>
                            <a:pt x="84" y="169"/>
                            <a:pt x="92" y="177"/>
                            <a:pt x="101" y="183"/>
                          </a:cubicBezTo>
                          <a:cubicBezTo>
                            <a:pt x="105" y="185"/>
                            <a:pt x="109" y="188"/>
                            <a:pt x="114" y="190"/>
                          </a:cubicBezTo>
                          <a:cubicBezTo>
                            <a:pt x="118" y="192"/>
                            <a:pt x="123" y="194"/>
                            <a:pt x="129" y="195"/>
                          </a:cubicBezTo>
                          <a:cubicBezTo>
                            <a:pt x="135" y="197"/>
                            <a:pt x="142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56" y="198"/>
                            <a:pt x="162" y="197"/>
                            <a:pt x="169" y="195"/>
                          </a:cubicBezTo>
                          <a:cubicBezTo>
                            <a:pt x="174" y="194"/>
                            <a:pt x="179" y="192"/>
                            <a:pt x="184" y="190"/>
                          </a:cubicBezTo>
                          <a:cubicBezTo>
                            <a:pt x="188" y="188"/>
                            <a:pt x="193" y="185"/>
                            <a:pt x="197" y="183"/>
                          </a:cubicBezTo>
                          <a:cubicBezTo>
                            <a:pt x="206" y="177"/>
                            <a:pt x="214" y="169"/>
                            <a:pt x="220" y="160"/>
                          </a:cubicBezTo>
                          <a:cubicBezTo>
                            <a:pt x="212" y="165"/>
                            <a:pt x="202" y="169"/>
                            <a:pt x="192" y="172"/>
                          </a:cubicBezTo>
                          <a:cubicBezTo>
                            <a:pt x="178" y="176"/>
                            <a:pt x="163" y="178"/>
                            <a:pt x="148" y="178"/>
                          </a:cubicBezTo>
                          <a:close/>
                          <a:moveTo>
                            <a:pt x="103" y="178"/>
                          </a:moveTo>
                          <a:cubicBezTo>
                            <a:pt x="102" y="177"/>
                            <a:pt x="100" y="176"/>
                            <a:pt x="99" y="174"/>
                          </a:cubicBezTo>
                          <a:cubicBezTo>
                            <a:pt x="101" y="176"/>
                            <a:pt x="104" y="177"/>
                            <a:pt x="106" y="177"/>
                          </a:cubicBezTo>
                          <a:cubicBezTo>
                            <a:pt x="106" y="178"/>
                            <a:pt x="107" y="179"/>
                            <a:pt x="107" y="179"/>
                          </a:cubicBezTo>
                          <a:cubicBezTo>
                            <a:pt x="106" y="179"/>
                            <a:pt x="105" y="178"/>
                            <a:pt x="103" y="178"/>
                          </a:cubicBezTo>
                          <a:close/>
                          <a:moveTo>
                            <a:pt x="146" y="192"/>
                          </a:moveTo>
                          <a:cubicBezTo>
                            <a:pt x="144" y="192"/>
                            <a:pt x="142" y="192"/>
                            <a:pt x="139" y="191"/>
                          </a:cubicBezTo>
                          <a:cubicBezTo>
                            <a:pt x="136" y="191"/>
                            <a:pt x="132" y="190"/>
                            <a:pt x="129" y="189"/>
                          </a:cubicBezTo>
                          <a:cubicBezTo>
                            <a:pt x="127" y="189"/>
                            <a:pt x="124" y="188"/>
                            <a:pt x="122" y="187"/>
                          </a:cubicBezTo>
                          <a:cubicBezTo>
                            <a:pt x="120" y="187"/>
                            <a:pt x="119" y="186"/>
                            <a:pt x="117" y="185"/>
                          </a:cubicBezTo>
                          <a:cubicBezTo>
                            <a:pt x="116" y="184"/>
                            <a:pt x="115" y="182"/>
                            <a:pt x="114" y="181"/>
                          </a:cubicBezTo>
                          <a:cubicBezTo>
                            <a:pt x="114" y="180"/>
                            <a:pt x="113" y="180"/>
                            <a:pt x="113" y="180"/>
                          </a:cubicBezTo>
                          <a:cubicBezTo>
                            <a:pt x="125" y="183"/>
                            <a:pt x="136" y="185"/>
                            <a:pt x="146" y="185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lose/>
                          <a:moveTo>
                            <a:pt x="184" y="181"/>
                          </a:moveTo>
                          <a:cubicBezTo>
                            <a:pt x="183" y="182"/>
                            <a:pt x="182" y="184"/>
                            <a:pt x="181" y="185"/>
                          </a:cubicBezTo>
                          <a:cubicBezTo>
                            <a:pt x="179" y="186"/>
                            <a:pt x="177" y="187"/>
                            <a:pt x="175" y="187"/>
                          </a:cubicBezTo>
                          <a:cubicBezTo>
                            <a:pt x="173" y="188"/>
                            <a:pt x="171" y="189"/>
                            <a:pt x="169" y="189"/>
                          </a:cubicBezTo>
                          <a:cubicBezTo>
                            <a:pt x="165" y="190"/>
                            <a:pt x="162" y="191"/>
                            <a:pt x="158" y="191"/>
                          </a:cubicBezTo>
                          <a:cubicBezTo>
                            <a:pt x="156" y="192"/>
                            <a:pt x="154" y="192"/>
                            <a:pt x="152" y="192"/>
                          </a:cubicBezTo>
                          <a:cubicBezTo>
                            <a:pt x="152" y="185"/>
                            <a:pt x="152" y="185"/>
                            <a:pt x="152" y="185"/>
                          </a:cubicBezTo>
                          <a:cubicBezTo>
                            <a:pt x="162" y="185"/>
                            <a:pt x="173" y="183"/>
                            <a:pt x="184" y="180"/>
                          </a:cubicBezTo>
                          <a:cubicBezTo>
                            <a:pt x="184" y="180"/>
                            <a:pt x="184" y="180"/>
                            <a:pt x="184" y="181"/>
                          </a:cubicBezTo>
                          <a:close/>
                          <a:moveTo>
                            <a:pt x="194" y="178"/>
                          </a:moveTo>
                          <a:cubicBezTo>
                            <a:pt x="193" y="178"/>
                            <a:pt x="192" y="179"/>
                            <a:pt x="191" y="179"/>
                          </a:cubicBezTo>
                          <a:cubicBezTo>
                            <a:pt x="191" y="179"/>
                            <a:pt x="191" y="178"/>
                            <a:pt x="191" y="177"/>
                          </a:cubicBezTo>
                          <a:cubicBezTo>
                            <a:pt x="194" y="177"/>
                            <a:pt x="196" y="175"/>
                            <a:pt x="199" y="174"/>
                          </a:cubicBezTo>
                          <a:cubicBezTo>
                            <a:pt x="197" y="176"/>
                            <a:pt x="196" y="177"/>
                            <a:pt x="194" y="178"/>
                          </a:cubicBezTo>
                          <a:close/>
                          <a:moveTo>
                            <a:pt x="66" y="83"/>
                          </a:moveTo>
                          <a:cubicBezTo>
                            <a:pt x="73" y="95"/>
                            <a:pt x="85" y="103"/>
                            <a:pt x="98" y="109"/>
                          </a:cubicBezTo>
                          <a:cubicBezTo>
                            <a:pt x="100" y="110"/>
                            <a:pt x="103" y="111"/>
                            <a:pt x="105" y="112"/>
                          </a:cubicBezTo>
                          <a:cubicBezTo>
                            <a:pt x="105" y="112"/>
                            <a:pt x="105" y="112"/>
                            <a:pt x="105" y="112"/>
                          </a:cubicBezTo>
                          <a:cubicBezTo>
                            <a:pt x="107" y="113"/>
                            <a:pt x="109" y="113"/>
                            <a:pt x="110" y="114"/>
                          </a:cubicBezTo>
                          <a:cubicBezTo>
                            <a:pt x="110" y="114"/>
                            <a:pt x="110" y="113"/>
                            <a:pt x="110" y="113"/>
                          </a:cubicBezTo>
                          <a:cubicBezTo>
                            <a:pt x="116" y="115"/>
                            <a:pt x="121" y="116"/>
                            <a:pt x="127" y="117"/>
                          </a:cubicBezTo>
                          <a:cubicBezTo>
                            <a:pt x="134" y="118"/>
                            <a:pt x="141" y="119"/>
                            <a:pt x="148" y="119"/>
                          </a:cubicBezTo>
                          <a:cubicBezTo>
                            <a:pt x="156" y="119"/>
                            <a:pt x="163" y="118"/>
                            <a:pt x="170" y="117"/>
                          </a:cubicBezTo>
                          <a:cubicBezTo>
                            <a:pt x="175" y="116"/>
                            <a:pt x="181" y="115"/>
                            <a:pt x="187" y="113"/>
                          </a:cubicBezTo>
                          <a:cubicBezTo>
                            <a:pt x="187" y="113"/>
                            <a:pt x="187" y="114"/>
                            <a:pt x="187" y="114"/>
                          </a:cubicBezTo>
                          <a:cubicBezTo>
                            <a:pt x="188" y="113"/>
                            <a:pt x="190" y="113"/>
                            <a:pt x="192" y="112"/>
                          </a:cubicBezTo>
                          <a:cubicBezTo>
                            <a:pt x="192" y="112"/>
                            <a:pt x="192" y="112"/>
                            <a:pt x="192" y="112"/>
                          </a:cubicBezTo>
                          <a:cubicBezTo>
                            <a:pt x="195" y="111"/>
                            <a:pt x="197" y="110"/>
                            <a:pt x="200" y="109"/>
                          </a:cubicBezTo>
                          <a:cubicBezTo>
                            <a:pt x="212" y="103"/>
                            <a:pt x="223" y="95"/>
                            <a:pt x="231" y="83"/>
                          </a:cubicBezTo>
                          <a:cubicBezTo>
                            <a:pt x="231" y="83"/>
                            <a:pt x="231" y="83"/>
                            <a:pt x="231" y="83"/>
                          </a:cubicBezTo>
                          <a:cubicBezTo>
                            <a:pt x="232" y="82"/>
                            <a:pt x="232" y="81"/>
                            <a:pt x="232" y="80"/>
                          </a:cubicBezTo>
                          <a:cubicBezTo>
                            <a:pt x="234" y="76"/>
                            <a:pt x="234" y="76"/>
                            <a:pt x="234" y="76"/>
                          </a:cubicBezTo>
                          <a:cubicBezTo>
                            <a:pt x="234" y="74"/>
                            <a:pt x="233" y="72"/>
                            <a:pt x="233" y="71"/>
                          </a:cubicBezTo>
                          <a:cubicBezTo>
                            <a:pt x="230" y="56"/>
                            <a:pt x="223" y="43"/>
                            <a:pt x="214" y="31"/>
                          </a:cubicBezTo>
                          <a:cubicBezTo>
                            <a:pt x="213" y="30"/>
                            <a:pt x="212" y="29"/>
                            <a:pt x="210" y="27"/>
                          </a:cubicBezTo>
                          <a:cubicBezTo>
                            <a:pt x="210" y="27"/>
                            <a:pt x="206" y="23"/>
                            <a:pt x="206" y="23"/>
                          </a:cubicBezTo>
                          <a:cubicBezTo>
                            <a:pt x="190" y="9"/>
                            <a:pt x="170" y="1"/>
                            <a:pt x="148" y="0"/>
                          </a:cubicBezTo>
                          <a:cubicBezTo>
                            <a:pt x="148" y="0"/>
                            <a:pt x="148" y="0"/>
                            <a:pt x="148" y="0"/>
                          </a:cubicBezTo>
                          <a:cubicBezTo>
                            <a:pt x="127" y="1"/>
                            <a:pt x="107" y="9"/>
                            <a:pt x="91" y="23"/>
                          </a:cubicBezTo>
                          <a:cubicBezTo>
                            <a:pt x="91" y="23"/>
                            <a:pt x="87" y="27"/>
                            <a:pt x="83" y="31"/>
                          </a:cubicBezTo>
                          <a:cubicBezTo>
                            <a:pt x="74" y="43"/>
                            <a:pt x="67" y="56"/>
                            <a:pt x="64" y="71"/>
                          </a:cubicBezTo>
                          <a:cubicBezTo>
                            <a:pt x="64" y="71"/>
                            <a:pt x="63" y="73"/>
                            <a:pt x="63" y="76"/>
                          </a:cubicBezTo>
                          <a:cubicBezTo>
                            <a:pt x="65" y="80"/>
                            <a:pt x="65" y="80"/>
                            <a:pt x="65" y="80"/>
                          </a:cubicBezTo>
                          <a:cubicBezTo>
                            <a:pt x="65" y="81"/>
                            <a:pt x="65" y="82"/>
                            <a:pt x="66" y="83"/>
                          </a:cubicBezTo>
                          <a:close/>
                          <a:moveTo>
                            <a:pt x="151" y="112"/>
                          </a:moveTo>
                          <a:cubicBezTo>
                            <a:pt x="151" y="69"/>
                            <a:pt x="151" y="69"/>
                            <a:pt x="151" y="69"/>
                          </a:cubicBezTo>
                          <a:cubicBezTo>
                            <a:pt x="158" y="69"/>
                            <a:pt x="166" y="68"/>
                            <a:pt x="173" y="66"/>
                          </a:cubicBezTo>
                          <a:cubicBezTo>
                            <a:pt x="175" y="70"/>
                            <a:pt x="177" y="75"/>
                            <a:pt x="178" y="79"/>
                          </a:cubicBezTo>
                          <a:cubicBezTo>
                            <a:pt x="180" y="83"/>
                            <a:pt x="181" y="86"/>
                            <a:pt x="182" y="89"/>
                          </a:cubicBezTo>
                          <a:cubicBezTo>
                            <a:pt x="183" y="93"/>
                            <a:pt x="183" y="96"/>
                            <a:pt x="184" y="100"/>
                          </a:cubicBezTo>
                          <a:cubicBezTo>
                            <a:pt x="185" y="102"/>
                            <a:pt x="185" y="105"/>
                            <a:pt x="186" y="107"/>
                          </a:cubicBezTo>
                          <a:cubicBezTo>
                            <a:pt x="174" y="110"/>
                            <a:pt x="162" y="112"/>
                            <a:pt x="151" y="112"/>
                          </a:cubicBezTo>
                          <a:close/>
                          <a:moveTo>
                            <a:pt x="188" y="48"/>
                          </a:moveTo>
                          <a:cubicBezTo>
                            <a:pt x="188" y="48"/>
                            <a:pt x="188" y="49"/>
                            <a:pt x="189" y="49"/>
                          </a:cubicBezTo>
                          <a:cubicBezTo>
                            <a:pt x="190" y="50"/>
                            <a:pt x="191" y="51"/>
                            <a:pt x="192" y="52"/>
                          </a:cubicBezTo>
                          <a:cubicBezTo>
                            <a:pt x="187" y="54"/>
                            <a:pt x="182" y="57"/>
                            <a:pt x="176" y="58"/>
                          </a:cubicBezTo>
                          <a:cubicBezTo>
                            <a:pt x="171" y="46"/>
                            <a:pt x="164" y="35"/>
                            <a:pt x="158" y="27"/>
                          </a:cubicBezTo>
                          <a:cubicBezTo>
                            <a:pt x="168" y="32"/>
                            <a:pt x="179" y="39"/>
                            <a:pt x="188" y="48"/>
                          </a:cubicBezTo>
                          <a:close/>
                          <a:moveTo>
                            <a:pt x="164" y="24"/>
                          </a:moveTo>
                          <a:cubicBezTo>
                            <a:pt x="172" y="25"/>
                            <a:pt x="180" y="27"/>
                            <a:pt x="186" y="30"/>
                          </a:cubicBezTo>
                          <a:cubicBezTo>
                            <a:pt x="189" y="31"/>
                            <a:pt x="191" y="32"/>
                            <a:pt x="192" y="33"/>
                          </a:cubicBezTo>
                          <a:cubicBezTo>
                            <a:pt x="196" y="35"/>
                            <a:pt x="200" y="37"/>
                            <a:pt x="203" y="40"/>
                          </a:cubicBezTo>
                          <a:cubicBezTo>
                            <a:pt x="203" y="40"/>
                            <a:pt x="202" y="41"/>
                            <a:pt x="202" y="42"/>
                          </a:cubicBezTo>
                          <a:cubicBezTo>
                            <a:pt x="201" y="44"/>
                            <a:pt x="199" y="46"/>
                            <a:pt x="196" y="49"/>
                          </a:cubicBezTo>
                          <a:cubicBezTo>
                            <a:pt x="195" y="48"/>
                            <a:pt x="194" y="47"/>
                            <a:pt x="193" y="46"/>
                          </a:cubicBezTo>
                          <a:cubicBezTo>
                            <a:pt x="193" y="45"/>
                            <a:pt x="193" y="45"/>
                            <a:pt x="193" y="45"/>
                          </a:cubicBezTo>
                          <a:cubicBezTo>
                            <a:pt x="191" y="43"/>
                            <a:pt x="189" y="42"/>
                            <a:pt x="188" y="40"/>
                          </a:cubicBezTo>
                          <a:cubicBezTo>
                            <a:pt x="180" y="34"/>
                            <a:pt x="173" y="28"/>
                            <a:pt x="164" y="24"/>
                          </a:cubicBezTo>
                          <a:close/>
                          <a:moveTo>
                            <a:pt x="171" y="60"/>
                          </a:moveTo>
                          <a:cubicBezTo>
                            <a:pt x="164" y="62"/>
                            <a:pt x="158" y="63"/>
                            <a:pt x="151" y="63"/>
                          </a:cubicBezTo>
                          <a:cubicBezTo>
                            <a:pt x="151" y="27"/>
                            <a:pt x="151" y="27"/>
                            <a:pt x="151" y="27"/>
                          </a:cubicBezTo>
                          <a:cubicBezTo>
                            <a:pt x="152" y="28"/>
                            <a:pt x="152" y="29"/>
                            <a:pt x="153" y="30"/>
                          </a:cubicBezTo>
                          <a:cubicBezTo>
                            <a:pt x="159" y="38"/>
                            <a:pt x="166" y="48"/>
                            <a:pt x="171" y="60"/>
                          </a:cubicBezTo>
                          <a:close/>
                          <a:moveTo>
                            <a:pt x="191" y="105"/>
                          </a:moveTo>
                          <a:cubicBezTo>
                            <a:pt x="190" y="100"/>
                            <a:pt x="189" y="95"/>
                            <a:pt x="187" y="89"/>
                          </a:cubicBezTo>
                          <a:cubicBezTo>
                            <a:pt x="186" y="86"/>
                            <a:pt x="185" y="83"/>
                            <a:pt x="184" y="79"/>
                          </a:cubicBezTo>
                          <a:cubicBezTo>
                            <a:pt x="184" y="79"/>
                            <a:pt x="184" y="78"/>
                            <a:pt x="184" y="78"/>
                          </a:cubicBezTo>
                          <a:cubicBezTo>
                            <a:pt x="182" y="73"/>
                            <a:pt x="180" y="69"/>
                            <a:pt x="179" y="64"/>
                          </a:cubicBezTo>
                          <a:cubicBezTo>
                            <a:pt x="185" y="62"/>
                            <a:pt x="191" y="60"/>
                            <a:pt x="196" y="57"/>
                          </a:cubicBezTo>
                          <a:cubicBezTo>
                            <a:pt x="204" y="67"/>
                            <a:pt x="211" y="78"/>
                            <a:pt x="215" y="89"/>
                          </a:cubicBezTo>
                          <a:cubicBezTo>
                            <a:pt x="215" y="90"/>
                            <a:pt x="215" y="92"/>
                            <a:pt x="216" y="93"/>
                          </a:cubicBezTo>
                          <a:cubicBezTo>
                            <a:pt x="209" y="98"/>
                            <a:pt x="200" y="102"/>
                            <a:pt x="191" y="105"/>
                          </a:cubicBezTo>
                          <a:close/>
                          <a:moveTo>
                            <a:pt x="210" y="36"/>
                          </a:moveTo>
                          <a:cubicBezTo>
                            <a:pt x="212" y="38"/>
                            <a:pt x="213" y="40"/>
                            <a:pt x="214" y="42"/>
                          </a:cubicBezTo>
                          <a:cubicBezTo>
                            <a:pt x="213" y="40"/>
                            <a:pt x="211" y="39"/>
                            <a:pt x="210" y="38"/>
                          </a:cubicBezTo>
                          <a:cubicBezTo>
                            <a:pt x="210" y="38"/>
                            <a:pt x="210" y="37"/>
                            <a:pt x="210" y="36"/>
                          </a:cubicBezTo>
                          <a:close/>
                          <a:moveTo>
                            <a:pt x="208" y="45"/>
                          </a:moveTo>
                          <a:cubicBezTo>
                            <a:pt x="208" y="45"/>
                            <a:pt x="208" y="44"/>
                            <a:pt x="208" y="44"/>
                          </a:cubicBezTo>
                          <a:cubicBezTo>
                            <a:pt x="212" y="47"/>
                            <a:pt x="215" y="51"/>
                            <a:pt x="218" y="54"/>
                          </a:cubicBezTo>
                          <a:cubicBezTo>
                            <a:pt x="221" y="58"/>
                            <a:pt x="223" y="61"/>
                            <a:pt x="225" y="65"/>
                          </a:cubicBezTo>
                          <a:cubicBezTo>
                            <a:pt x="226" y="67"/>
                            <a:pt x="227" y="70"/>
                            <a:pt x="228" y="72"/>
                          </a:cubicBezTo>
                          <a:cubicBezTo>
                            <a:pt x="228" y="73"/>
                            <a:pt x="230" y="79"/>
                            <a:pt x="220" y="89"/>
                          </a:cubicBezTo>
                          <a:cubicBezTo>
                            <a:pt x="219" y="86"/>
                            <a:pt x="218" y="83"/>
                            <a:pt x="217" y="81"/>
                          </a:cubicBezTo>
                          <a:cubicBezTo>
                            <a:pt x="213" y="71"/>
                            <a:pt x="208" y="62"/>
                            <a:pt x="200" y="53"/>
                          </a:cubicBezTo>
                          <a:cubicBezTo>
                            <a:pt x="204" y="51"/>
                            <a:pt x="206" y="48"/>
                            <a:pt x="208" y="45"/>
                          </a:cubicBezTo>
                          <a:close/>
                          <a:moveTo>
                            <a:pt x="189" y="21"/>
                          </a:moveTo>
                          <a:cubicBezTo>
                            <a:pt x="194" y="22"/>
                            <a:pt x="198" y="24"/>
                            <a:pt x="201" y="27"/>
                          </a:cubicBezTo>
                          <a:cubicBezTo>
                            <a:pt x="203" y="29"/>
                            <a:pt x="203" y="31"/>
                            <a:pt x="204" y="33"/>
                          </a:cubicBezTo>
                          <a:cubicBezTo>
                            <a:pt x="200" y="31"/>
                            <a:pt x="196" y="28"/>
                            <a:pt x="191" y="26"/>
                          </a:cubicBezTo>
                          <a:cubicBezTo>
                            <a:pt x="189" y="25"/>
                            <a:pt x="187" y="25"/>
                            <a:pt x="185" y="24"/>
                          </a:cubicBezTo>
                          <a:cubicBezTo>
                            <a:pt x="179" y="21"/>
                            <a:pt x="173" y="20"/>
                            <a:pt x="166" y="19"/>
                          </a:cubicBezTo>
                          <a:cubicBezTo>
                            <a:pt x="169" y="18"/>
                            <a:pt x="171" y="18"/>
                            <a:pt x="173" y="18"/>
                          </a:cubicBezTo>
                          <a:cubicBezTo>
                            <a:pt x="176" y="18"/>
                            <a:pt x="179" y="19"/>
                            <a:pt x="183" y="19"/>
                          </a:cubicBezTo>
                          <a:cubicBezTo>
                            <a:pt x="185" y="20"/>
                            <a:pt x="187" y="20"/>
                            <a:pt x="189" y="21"/>
                          </a:cubicBezTo>
                          <a:close/>
                          <a:moveTo>
                            <a:pt x="174" y="11"/>
                          </a:moveTo>
                          <a:cubicBezTo>
                            <a:pt x="175" y="12"/>
                            <a:pt x="177" y="12"/>
                            <a:pt x="178" y="13"/>
                          </a:cubicBezTo>
                          <a:cubicBezTo>
                            <a:pt x="176" y="13"/>
                            <a:pt x="174" y="13"/>
                            <a:pt x="173" y="13"/>
                          </a:cubicBezTo>
                          <a:cubicBezTo>
                            <a:pt x="168" y="13"/>
                            <a:pt x="164" y="13"/>
                            <a:pt x="160" y="14"/>
                          </a:cubicBezTo>
                          <a:cubicBezTo>
                            <a:pt x="163" y="12"/>
                            <a:pt x="167" y="11"/>
                            <a:pt x="170" y="11"/>
                          </a:cubicBezTo>
                          <a:cubicBezTo>
                            <a:pt x="172" y="11"/>
                            <a:pt x="173" y="11"/>
                            <a:pt x="174" y="11"/>
                          </a:cubicBezTo>
                          <a:close/>
                          <a:moveTo>
                            <a:pt x="151" y="6"/>
                          </a:moveTo>
                          <a:cubicBezTo>
                            <a:pt x="154" y="6"/>
                            <a:pt x="158" y="7"/>
                            <a:pt x="161" y="7"/>
                          </a:cubicBezTo>
                          <a:cubicBezTo>
                            <a:pt x="158" y="9"/>
                            <a:pt x="154" y="11"/>
                            <a:pt x="151" y="14"/>
                          </a:cubicBezTo>
                          <a:cubicBezTo>
                            <a:pt x="151" y="6"/>
                            <a:pt x="151" y="6"/>
                            <a:pt x="151" y="6"/>
                          </a:cubicBezTo>
                          <a:cubicBezTo>
                            <a:pt x="151" y="6"/>
                            <a:pt x="151" y="6"/>
                            <a:pt x="151" y="6"/>
                          </a:cubicBezTo>
                          <a:close/>
                          <a:moveTo>
                            <a:pt x="110" y="89"/>
                          </a:moveTo>
                          <a:cubicBezTo>
                            <a:pt x="108" y="95"/>
                            <a:pt x="107" y="100"/>
                            <a:pt x="106" y="105"/>
                          </a:cubicBezTo>
                          <a:cubicBezTo>
                            <a:pt x="97" y="102"/>
                            <a:pt x="88" y="98"/>
                            <a:pt x="81" y="93"/>
                          </a:cubicBezTo>
                          <a:cubicBezTo>
                            <a:pt x="82" y="92"/>
                            <a:pt x="82" y="90"/>
                            <a:pt x="82" y="89"/>
                          </a:cubicBezTo>
                          <a:cubicBezTo>
                            <a:pt x="86" y="78"/>
                            <a:pt x="93" y="67"/>
                            <a:pt x="101" y="57"/>
                          </a:cubicBezTo>
                          <a:cubicBezTo>
                            <a:pt x="106" y="60"/>
                            <a:pt x="112" y="62"/>
                            <a:pt x="118" y="64"/>
                          </a:cubicBezTo>
                          <a:cubicBezTo>
                            <a:pt x="116" y="69"/>
                            <a:pt x="115" y="73"/>
                            <a:pt x="113" y="78"/>
                          </a:cubicBezTo>
                          <a:cubicBezTo>
                            <a:pt x="113" y="78"/>
                            <a:pt x="113" y="79"/>
                            <a:pt x="113" y="79"/>
                          </a:cubicBezTo>
                          <a:cubicBezTo>
                            <a:pt x="112" y="83"/>
                            <a:pt x="111" y="86"/>
                            <a:pt x="110" y="89"/>
                          </a:cubicBezTo>
                          <a:close/>
                          <a:moveTo>
                            <a:pt x="109" y="40"/>
                          </a:moveTo>
                          <a:cubicBezTo>
                            <a:pt x="108" y="42"/>
                            <a:pt x="106" y="43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6"/>
                          </a:cubicBezTo>
                          <a:cubicBezTo>
                            <a:pt x="103" y="47"/>
                            <a:pt x="102" y="48"/>
                            <a:pt x="101" y="49"/>
                          </a:cubicBezTo>
                          <a:cubicBezTo>
                            <a:pt x="98" y="47"/>
                            <a:pt x="96" y="44"/>
                            <a:pt x="95" y="42"/>
                          </a:cubicBezTo>
                          <a:cubicBezTo>
                            <a:pt x="94" y="41"/>
                            <a:pt x="94" y="40"/>
                            <a:pt x="94" y="40"/>
                          </a:cubicBezTo>
                          <a:cubicBezTo>
                            <a:pt x="97" y="37"/>
                            <a:pt x="101" y="35"/>
                            <a:pt x="104" y="33"/>
                          </a:cubicBezTo>
                          <a:cubicBezTo>
                            <a:pt x="106" y="32"/>
                            <a:pt x="109" y="31"/>
                            <a:pt x="111" y="30"/>
                          </a:cubicBezTo>
                          <a:cubicBezTo>
                            <a:pt x="117" y="27"/>
                            <a:pt x="125" y="25"/>
                            <a:pt x="133" y="24"/>
                          </a:cubicBezTo>
                          <a:cubicBezTo>
                            <a:pt x="124" y="28"/>
                            <a:pt x="117" y="34"/>
                            <a:pt x="109" y="40"/>
                          </a:cubicBezTo>
                          <a:close/>
                          <a:moveTo>
                            <a:pt x="139" y="27"/>
                          </a:moveTo>
                          <a:cubicBezTo>
                            <a:pt x="133" y="35"/>
                            <a:pt x="126" y="46"/>
                            <a:pt x="121" y="58"/>
                          </a:cubicBezTo>
                          <a:cubicBezTo>
                            <a:pt x="115" y="57"/>
                            <a:pt x="110" y="54"/>
                            <a:pt x="105" y="52"/>
                          </a:cubicBezTo>
                          <a:cubicBezTo>
                            <a:pt x="106" y="51"/>
                            <a:pt x="107" y="50"/>
                            <a:pt x="108" y="49"/>
                          </a:cubicBezTo>
                          <a:cubicBezTo>
                            <a:pt x="109" y="49"/>
                            <a:pt x="109" y="48"/>
                            <a:pt x="109" y="48"/>
                          </a:cubicBezTo>
                          <a:cubicBezTo>
                            <a:pt x="118" y="39"/>
                            <a:pt x="129" y="32"/>
                            <a:pt x="139" y="27"/>
                          </a:cubicBezTo>
                          <a:close/>
                          <a:moveTo>
                            <a:pt x="146" y="112"/>
                          </a:moveTo>
                          <a:cubicBezTo>
                            <a:pt x="135" y="112"/>
                            <a:pt x="123" y="110"/>
                            <a:pt x="111" y="107"/>
                          </a:cubicBezTo>
                          <a:cubicBezTo>
                            <a:pt x="112" y="105"/>
                            <a:pt x="112" y="102"/>
                            <a:pt x="113" y="100"/>
                          </a:cubicBezTo>
                          <a:cubicBezTo>
                            <a:pt x="114" y="96"/>
                            <a:pt x="115" y="93"/>
                            <a:pt x="115" y="89"/>
                          </a:cubicBezTo>
                          <a:cubicBezTo>
                            <a:pt x="116" y="86"/>
                            <a:pt x="117" y="83"/>
                            <a:pt x="119" y="79"/>
                          </a:cubicBezTo>
                          <a:cubicBezTo>
                            <a:pt x="120" y="75"/>
                            <a:pt x="122" y="70"/>
                            <a:pt x="123" y="66"/>
                          </a:cubicBezTo>
                          <a:cubicBezTo>
                            <a:pt x="132" y="68"/>
                            <a:pt x="139" y="69"/>
                            <a:pt x="146" y="69"/>
                          </a:cubicBezTo>
                          <a:cubicBezTo>
                            <a:pt x="146" y="112"/>
                            <a:pt x="146" y="112"/>
                            <a:pt x="146" y="112"/>
                          </a:cubicBezTo>
                          <a:cubicBezTo>
                            <a:pt x="146" y="112"/>
                            <a:pt x="146" y="112"/>
                            <a:pt x="146" y="112"/>
                          </a:cubicBezTo>
                          <a:close/>
                          <a:moveTo>
                            <a:pt x="146" y="63"/>
                          </a:moveTo>
                          <a:cubicBezTo>
                            <a:pt x="139" y="63"/>
                            <a:pt x="133" y="62"/>
                            <a:pt x="126" y="60"/>
                          </a:cubicBezTo>
                          <a:cubicBezTo>
                            <a:pt x="131" y="48"/>
                            <a:pt x="138" y="38"/>
                            <a:pt x="144" y="30"/>
                          </a:cubicBezTo>
                          <a:cubicBezTo>
                            <a:pt x="145" y="29"/>
                            <a:pt x="145" y="28"/>
                            <a:pt x="146" y="27"/>
                          </a:cubicBezTo>
                          <a:cubicBezTo>
                            <a:pt x="146" y="63"/>
                            <a:pt x="146" y="63"/>
                            <a:pt x="146" y="63"/>
                          </a:cubicBezTo>
                          <a:cubicBezTo>
                            <a:pt x="146" y="63"/>
                            <a:pt x="146" y="63"/>
                            <a:pt x="146" y="63"/>
                          </a:cubicBezTo>
                          <a:close/>
                          <a:moveTo>
                            <a:pt x="146" y="6"/>
                          </a:moveTo>
                          <a:cubicBezTo>
                            <a:pt x="146" y="14"/>
                            <a:pt x="146" y="14"/>
                            <a:pt x="146" y="14"/>
                          </a:cubicBezTo>
                          <a:cubicBezTo>
                            <a:pt x="143" y="11"/>
                            <a:pt x="139" y="9"/>
                            <a:pt x="136" y="7"/>
                          </a:cubicBezTo>
                          <a:cubicBezTo>
                            <a:pt x="139" y="7"/>
                            <a:pt x="143" y="6"/>
                            <a:pt x="146" y="6"/>
                          </a:cubicBezTo>
                          <a:close/>
                          <a:moveTo>
                            <a:pt x="123" y="11"/>
                          </a:moveTo>
                          <a:cubicBezTo>
                            <a:pt x="124" y="11"/>
                            <a:pt x="125" y="11"/>
                            <a:pt x="127" y="11"/>
                          </a:cubicBezTo>
                          <a:cubicBezTo>
                            <a:pt x="130" y="11"/>
                            <a:pt x="134" y="12"/>
                            <a:pt x="138" y="14"/>
                          </a:cubicBezTo>
                          <a:cubicBezTo>
                            <a:pt x="133" y="13"/>
                            <a:pt x="129" y="13"/>
                            <a:pt x="124" y="13"/>
                          </a:cubicBezTo>
                          <a:cubicBezTo>
                            <a:pt x="123" y="13"/>
                            <a:pt x="121" y="13"/>
                            <a:pt x="119" y="13"/>
                          </a:cubicBezTo>
                          <a:cubicBezTo>
                            <a:pt x="120" y="12"/>
                            <a:pt x="122" y="12"/>
                            <a:pt x="123" y="11"/>
                          </a:cubicBezTo>
                          <a:close/>
                          <a:moveTo>
                            <a:pt x="96" y="27"/>
                          </a:moveTo>
                          <a:cubicBezTo>
                            <a:pt x="99" y="24"/>
                            <a:pt x="103" y="22"/>
                            <a:pt x="108" y="21"/>
                          </a:cubicBezTo>
                          <a:cubicBezTo>
                            <a:pt x="110" y="20"/>
                            <a:pt x="112" y="20"/>
                            <a:pt x="114" y="19"/>
                          </a:cubicBezTo>
                          <a:cubicBezTo>
                            <a:pt x="118" y="19"/>
                            <a:pt x="121" y="18"/>
                            <a:pt x="124" y="18"/>
                          </a:cubicBezTo>
                          <a:cubicBezTo>
                            <a:pt x="126" y="18"/>
                            <a:pt x="128" y="18"/>
                            <a:pt x="131" y="19"/>
                          </a:cubicBezTo>
                          <a:cubicBezTo>
                            <a:pt x="124" y="20"/>
                            <a:pt x="118" y="21"/>
                            <a:pt x="112" y="24"/>
                          </a:cubicBezTo>
                          <a:cubicBezTo>
                            <a:pt x="110" y="25"/>
                            <a:pt x="108" y="25"/>
                            <a:pt x="106" y="26"/>
                          </a:cubicBezTo>
                          <a:cubicBezTo>
                            <a:pt x="101" y="28"/>
                            <a:pt x="97" y="31"/>
                            <a:pt x="93" y="34"/>
                          </a:cubicBezTo>
                          <a:cubicBezTo>
                            <a:pt x="94" y="31"/>
                            <a:pt x="94" y="29"/>
                            <a:pt x="96" y="27"/>
                          </a:cubicBezTo>
                          <a:close/>
                          <a:moveTo>
                            <a:pt x="87" y="36"/>
                          </a:moveTo>
                          <a:cubicBezTo>
                            <a:pt x="87" y="37"/>
                            <a:pt x="87" y="38"/>
                            <a:pt x="87" y="38"/>
                          </a:cubicBezTo>
                          <a:cubicBezTo>
                            <a:pt x="85" y="39"/>
                            <a:pt x="84" y="40"/>
                            <a:pt x="83" y="42"/>
                          </a:cubicBezTo>
                          <a:cubicBezTo>
                            <a:pt x="84" y="40"/>
                            <a:pt x="85" y="38"/>
                            <a:pt x="87" y="36"/>
                          </a:cubicBezTo>
                          <a:close/>
                          <a:moveTo>
                            <a:pt x="70" y="71"/>
                          </a:moveTo>
                          <a:cubicBezTo>
                            <a:pt x="70" y="69"/>
                            <a:pt x="71" y="67"/>
                            <a:pt x="72" y="65"/>
                          </a:cubicBezTo>
                          <a:cubicBezTo>
                            <a:pt x="74" y="61"/>
                            <a:pt x="76" y="58"/>
                            <a:pt x="79" y="54"/>
                          </a:cubicBezTo>
                          <a:cubicBezTo>
                            <a:pt x="82" y="51"/>
                            <a:pt x="85" y="47"/>
                            <a:pt x="89" y="44"/>
                          </a:cubicBezTo>
                          <a:cubicBezTo>
                            <a:pt x="89" y="44"/>
                            <a:pt x="89" y="45"/>
                            <a:pt x="89" y="45"/>
                          </a:cubicBezTo>
                          <a:cubicBezTo>
                            <a:pt x="91" y="48"/>
                            <a:pt x="93" y="51"/>
                            <a:pt x="97" y="54"/>
                          </a:cubicBezTo>
                          <a:cubicBezTo>
                            <a:pt x="90" y="62"/>
                            <a:pt x="84" y="71"/>
                            <a:pt x="80" y="81"/>
                          </a:cubicBezTo>
                          <a:cubicBezTo>
                            <a:pt x="79" y="83"/>
                            <a:pt x="78" y="86"/>
                            <a:pt x="77" y="89"/>
                          </a:cubicBezTo>
                          <a:cubicBezTo>
                            <a:pt x="72" y="84"/>
                            <a:pt x="70" y="79"/>
                            <a:pt x="69" y="73"/>
                          </a:cubicBezTo>
                          <a:cubicBezTo>
                            <a:pt x="69" y="73"/>
                            <a:pt x="69" y="72"/>
                            <a:pt x="70" y="71"/>
                          </a:cubicBezTo>
                          <a:close/>
                          <a:moveTo>
                            <a:pt x="42" y="93"/>
                          </a:moveTo>
                          <a:cubicBezTo>
                            <a:pt x="39" y="93"/>
                            <a:pt x="38" y="99"/>
                            <a:pt x="38" y="101"/>
                          </a:cubicBezTo>
                          <a:cubicBezTo>
                            <a:pt x="38" y="108"/>
                            <a:pt x="41" y="109"/>
                            <a:pt x="42" y="109"/>
                          </a:cubicBezTo>
                          <a:cubicBezTo>
                            <a:pt x="43" y="109"/>
                            <a:pt x="46" y="108"/>
                            <a:pt x="46" y="101"/>
                          </a:cubicBezTo>
                          <a:cubicBezTo>
                            <a:pt x="46" y="99"/>
                            <a:pt x="45" y="93"/>
                            <a:pt x="42" y="93"/>
                          </a:cubicBezTo>
                          <a:close/>
                          <a:moveTo>
                            <a:pt x="256" y="93"/>
                          </a:moveTo>
                          <a:cubicBezTo>
                            <a:pt x="253" y="93"/>
                            <a:pt x="253" y="99"/>
                            <a:pt x="253" y="101"/>
                          </a:cubicBezTo>
                          <a:cubicBezTo>
                            <a:pt x="253" y="108"/>
                            <a:pt x="255" y="109"/>
                            <a:pt x="256" y="109"/>
                          </a:cubicBezTo>
                          <a:cubicBezTo>
                            <a:pt x="257" y="109"/>
                            <a:pt x="260" y="108"/>
                            <a:pt x="260" y="101"/>
                          </a:cubicBezTo>
                          <a:cubicBezTo>
                            <a:pt x="260" y="99"/>
                            <a:pt x="260" y="93"/>
                            <a:pt x="256" y="93"/>
                          </a:cubicBezTo>
                          <a:close/>
                          <a:moveTo>
                            <a:pt x="164" y="144"/>
                          </a:moveTo>
                          <a:cubicBezTo>
                            <a:pt x="162" y="137"/>
                            <a:pt x="157" y="139"/>
                            <a:pt x="156" y="141"/>
                          </a:cubicBezTo>
                          <a:cubicBezTo>
                            <a:pt x="155" y="142"/>
                            <a:pt x="154" y="143"/>
                            <a:pt x="154" y="145"/>
                          </a:cubicBezTo>
                          <a:cubicBezTo>
                            <a:pt x="153" y="149"/>
                            <a:pt x="154" y="156"/>
                            <a:pt x="159" y="156"/>
                          </a:cubicBezTo>
                          <a:cubicBezTo>
                            <a:pt x="163" y="156"/>
                            <a:pt x="164" y="151"/>
                            <a:pt x="164" y="146"/>
                          </a:cubicBezTo>
                          <a:cubicBezTo>
                            <a:pt x="164" y="145"/>
                            <a:pt x="164" y="145"/>
                            <a:pt x="164" y="144"/>
                          </a:cubicBezTo>
                          <a:close/>
                          <a:moveTo>
                            <a:pt x="323" y="101"/>
                          </a:moveTo>
                          <a:cubicBezTo>
                            <a:pt x="292" y="71"/>
                            <a:pt x="292" y="71"/>
                            <a:pt x="292" y="71"/>
                          </a:cubicBezTo>
                          <a:cubicBezTo>
                            <a:pt x="292" y="83"/>
                            <a:pt x="292" y="83"/>
                            <a:pt x="292" y="83"/>
                          </a:cubicBezTo>
                          <a:cubicBezTo>
                            <a:pt x="241" y="83"/>
                            <a:pt x="241" y="83"/>
                            <a:pt x="241" y="83"/>
                          </a:cubicBezTo>
                          <a:cubicBezTo>
                            <a:pt x="241" y="85"/>
                            <a:pt x="240" y="86"/>
                            <a:pt x="240" y="87"/>
                          </a:cubicBezTo>
                          <a:cubicBezTo>
                            <a:pt x="233" y="103"/>
                            <a:pt x="215" y="116"/>
                            <a:pt x="189" y="124"/>
                          </a:cubicBezTo>
                          <a:cubicBezTo>
                            <a:pt x="176" y="128"/>
                            <a:pt x="162" y="129"/>
                            <a:pt x="148" y="129"/>
                          </a:cubicBezTo>
                          <a:cubicBezTo>
                            <a:pt x="113" y="129"/>
                            <a:pt x="79" y="117"/>
                            <a:pt x="63" y="96"/>
                          </a:cubicBezTo>
                          <a:cubicBezTo>
                            <a:pt x="61" y="94"/>
                            <a:pt x="60" y="92"/>
                            <a:pt x="58" y="90"/>
                          </a:cubicBezTo>
                          <a:cubicBezTo>
                            <a:pt x="57" y="88"/>
                            <a:pt x="56" y="86"/>
                            <a:pt x="56" y="83"/>
                          </a:cubicBezTo>
                          <a:cubicBezTo>
                            <a:pt x="0" y="83"/>
                            <a:pt x="0" y="83"/>
                            <a:pt x="0" y="83"/>
                          </a:cubicBezTo>
                          <a:cubicBezTo>
                            <a:pt x="0" y="119"/>
                            <a:pt x="0" y="119"/>
                            <a:pt x="0" y="119"/>
                          </a:cubicBezTo>
                          <a:cubicBezTo>
                            <a:pt x="55" y="119"/>
                            <a:pt x="55" y="119"/>
                            <a:pt x="55" y="119"/>
                          </a:cubicBezTo>
                          <a:cubicBezTo>
                            <a:pt x="55" y="120"/>
                            <a:pt x="55" y="122"/>
                            <a:pt x="56" y="123"/>
                          </a:cubicBezTo>
                          <a:cubicBezTo>
                            <a:pt x="57" y="127"/>
                            <a:pt x="60" y="131"/>
                            <a:pt x="63" y="135"/>
                          </a:cubicBezTo>
                          <a:cubicBezTo>
                            <a:pt x="64" y="137"/>
                            <a:pt x="65" y="138"/>
                            <a:pt x="66" y="140"/>
                          </a:cubicBezTo>
                          <a:cubicBezTo>
                            <a:pt x="70" y="144"/>
                            <a:pt x="74" y="147"/>
                            <a:pt x="79" y="150"/>
                          </a:cubicBezTo>
                          <a:cubicBezTo>
                            <a:pt x="86" y="155"/>
                            <a:pt x="94" y="159"/>
                            <a:pt x="103" y="162"/>
                          </a:cubicBezTo>
                          <a:cubicBezTo>
                            <a:pt x="105" y="162"/>
                            <a:pt x="107" y="163"/>
                            <a:pt x="109" y="163"/>
                          </a:cubicBezTo>
                          <a:cubicBezTo>
                            <a:pt x="120" y="167"/>
                            <a:pt x="133" y="168"/>
                            <a:pt x="146" y="169"/>
                          </a:cubicBezTo>
                          <a:cubicBezTo>
                            <a:pt x="147" y="169"/>
                            <a:pt x="148" y="169"/>
                            <a:pt x="148" y="169"/>
                          </a:cubicBezTo>
                          <a:cubicBezTo>
                            <a:pt x="150" y="169"/>
                            <a:pt x="151" y="169"/>
                            <a:pt x="152" y="169"/>
                          </a:cubicBezTo>
                          <a:cubicBezTo>
                            <a:pt x="164" y="168"/>
                            <a:pt x="177" y="167"/>
                            <a:pt x="189" y="163"/>
                          </a:cubicBezTo>
                          <a:cubicBezTo>
                            <a:pt x="189" y="163"/>
                            <a:pt x="189" y="163"/>
                            <a:pt x="189" y="163"/>
                          </a:cubicBezTo>
                          <a:cubicBezTo>
                            <a:pt x="191" y="163"/>
                            <a:pt x="193" y="162"/>
                            <a:pt x="194" y="161"/>
                          </a:cubicBezTo>
                          <a:cubicBezTo>
                            <a:pt x="204" y="158"/>
                            <a:pt x="212" y="154"/>
                            <a:pt x="219" y="149"/>
                          </a:cubicBezTo>
                          <a:cubicBezTo>
                            <a:pt x="224" y="146"/>
                            <a:pt x="228" y="142"/>
                            <a:pt x="232" y="138"/>
                          </a:cubicBezTo>
                          <a:cubicBezTo>
                            <a:pt x="236" y="134"/>
                            <a:pt x="239" y="129"/>
                            <a:pt x="241" y="123"/>
                          </a:cubicBezTo>
                          <a:cubicBezTo>
                            <a:pt x="242" y="122"/>
                            <a:pt x="242" y="120"/>
                            <a:pt x="243" y="119"/>
                          </a:cubicBezTo>
                          <a:cubicBezTo>
                            <a:pt x="292" y="119"/>
                            <a:pt x="292" y="119"/>
                            <a:pt x="292" y="119"/>
                          </a:cubicBezTo>
                          <a:cubicBezTo>
                            <a:pt x="292" y="131"/>
                            <a:pt x="292" y="131"/>
                            <a:pt x="292" y="131"/>
                          </a:cubicBezTo>
                          <a:cubicBezTo>
                            <a:pt x="323" y="101"/>
                            <a:pt x="323" y="101"/>
                            <a:pt x="323" y="101"/>
                          </a:cubicBezTo>
                          <a:cubicBezTo>
                            <a:pt x="323" y="101"/>
                            <a:pt x="323" y="101"/>
                            <a:pt x="323" y="101"/>
                          </a:cubicBezTo>
                          <a:close/>
                          <a:moveTo>
                            <a:pt x="28" y="112"/>
                          </a:moveTo>
                          <a:cubicBezTo>
                            <a:pt x="12" y="112"/>
                            <a:pt x="12" y="112"/>
                            <a:pt x="12" y="112"/>
                          </a:cubicBezTo>
                          <a:cubicBezTo>
                            <a:pt x="12" y="108"/>
                            <a:pt x="12" y="108"/>
                            <a:pt x="12" y="108"/>
                          </a:cubicBezTo>
                          <a:cubicBezTo>
                            <a:pt x="18" y="108"/>
                            <a:pt x="18" y="108"/>
                            <a:pt x="18" y="108"/>
                          </a:cubicBezTo>
                          <a:cubicBezTo>
                            <a:pt x="18" y="94"/>
                            <a:pt x="18" y="94"/>
                            <a:pt x="18" y="94"/>
                          </a:cubicBezTo>
                          <a:cubicBezTo>
                            <a:pt x="13" y="97"/>
                            <a:pt x="13" y="97"/>
                            <a:pt x="13" y="97"/>
                          </a:cubicBezTo>
                          <a:cubicBezTo>
                            <a:pt x="11" y="93"/>
                            <a:pt x="11" y="93"/>
                            <a:pt x="11" y="93"/>
                          </a:cubicBezTo>
                          <a:cubicBezTo>
                            <a:pt x="19" y="90"/>
                            <a:pt x="19" y="90"/>
                            <a:pt x="19" y="90"/>
                          </a:cubicBezTo>
                          <a:cubicBezTo>
                            <a:pt x="22" y="90"/>
                            <a:pt x="22" y="90"/>
                            <a:pt x="22" y="90"/>
                          </a:cubicBezTo>
                          <a:cubicBezTo>
                            <a:pt x="22" y="108"/>
                            <a:pt x="22" y="108"/>
                            <a:pt x="22" y="108"/>
                          </a:cubicBezTo>
                          <a:cubicBezTo>
                            <a:pt x="28" y="108"/>
                            <a:pt x="28" y="108"/>
                            <a:pt x="28" y="108"/>
                          </a:cubicBezTo>
                          <a:cubicBezTo>
                            <a:pt x="28" y="112"/>
                            <a:pt x="28" y="112"/>
                            <a:pt x="28" y="112"/>
                          </a:cubicBezTo>
                          <a:cubicBezTo>
                            <a:pt x="28" y="112"/>
                            <a:pt x="28" y="112"/>
                            <a:pt x="28" y="112"/>
                          </a:cubicBezTo>
                          <a:close/>
                          <a:moveTo>
                            <a:pt x="42" y="112"/>
                          </a:moveTo>
                          <a:cubicBezTo>
                            <a:pt x="35" y="112"/>
                            <a:pt x="34" y="106"/>
                            <a:pt x="34" y="101"/>
                          </a:cubicBezTo>
                          <a:cubicBezTo>
                            <a:pt x="34" y="96"/>
                            <a:pt x="36" y="90"/>
                            <a:pt x="42" y="90"/>
                          </a:cubicBezTo>
                          <a:cubicBezTo>
                            <a:pt x="49" y="90"/>
                            <a:pt x="50" y="96"/>
                            <a:pt x="50" y="101"/>
                          </a:cubicBezTo>
                          <a:cubicBezTo>
                            <a:pt x="50" y="106"/>
                            <a:pt x="49" y="112"/>
                            <a:pt x="42" y="112"/>
                          </a:cubicBezTo>
                          <a:close/>
                          <a:moveTo>
                            <a:pt x="65" y="127"/>
                          </a:moveTo>
                          <a:cubicBezTo>
                            <a:pt x="64" y="125"/>
                            <a:pt x="62" y="123"/>
                            <a:pt x="61" y="121"/>
                          </a:cubicBezTo>
                          <a:cubicBezTo>
                            <a:pt x="60" y="120"/>
                            <a:pt x="60" y="118"/>
                            <a:pt x="59" y="117"/>
                          </a:cubicBezTo>
                          <a:cubicBezTo>
                            <a:pt x="59" y="113"/>
                            <a:pt x="59" y="113"/>
                            <a:pt x="59" y="113"/>
                          </a:cubicBezTo>
                          <a:cubicBezTo>
                            <a:pt x="60" y="114"/>
                            <a:pt x="60" y="115"/>
                            <a:pt x="61" y="116"/>
                          </a:cubicBezTo>
                          <a:cubicBezTo>
                            <a:pt x="61" y="117"/>
                            <a:pt x="61" y="117"/>
                            <a:pt x="62" y="118"/>
                          </a:cubicBezTo>
                          <a:cubicBezTo>
                            <a:pt x="62" y="110"/>
                            <a:pt x="62" y="110"/>
                            <a:pt x="62" y="110"/>
                          </a:cubicBezTo>
                          <a:cubicBezTo>
                            <a:pt x="62" y="102"/>
                            <a:pt x="62" y="102"/>
                            <a:pt x="62" y="102"/>
                          </a:cubicBezTo>
                          <a:cubicBezTo>
                            <a:pt x="61" y="102"/>
                            <a:pt x="61" y="102"/>
                            <a:pt x="61" y="101"/>
                          </a:cubicBezTo>
                          <a:cubicBezTo>
                            <a:pt x="61" y="101"/>
                            <a:pt x="61" y="101"/>
                            <a:pt x="61" y="101"/>
                          </a:cubicBezTo>
                          <a:cubicBezTo>
                            <a:pt x="60" y="101"/>
                            <a:pt x="60" y="101"/>
                            <a:pt x="59" y="100"/>
                          </a:cubicBezTo>
                          <a:cubicBezTo>
                            <a:pt x="59" y="97"/>
                            <a:pt x="59" y="97"/>
                            <a:pt x="59" y="97"/>
                          </a:cubicBezTo>
                          <a:cubicBezTo>
                            <a:pt x="59" y="95"/>
                            <a:pt x="59" y="95"/>
                            <a:pt x="59" y="95"/>
                          </a:cubicBezTo>
                          <a:cubicBezTo>
                            <a:pt x="60" y="96"/>
                            <a:pt x="61" y="97"/>
                            <a:pt x="62" y="98"/>
                          </a:cubicBezTo>
                          <a:cubicBezTo>
                            <a:pt x="63" y="99"/>
                            <a:pt x="63" y="100"/>
                            <a:pt x="64" y="100"/>
                          </a:cubicBezTo>
                          <a:cubicBezTo>
                            <a:pt x="64" y="105"/>
                            <a:pt x="64" y="105"/>
                            <a:pt x="64" y="105"/>
                          </a:cubicBezTo>
                          <a:cubicBezTo>
                            <a:pt x="64" y="113"/>
                            <a:pt x="64" y="113"/>
                            <a:pt x="64" y="113"/>
                          </a:cubicBezTo>
                          <a:cubicBezTo>
                            <a:pt x="64" y="121"/>
                            <a:pt x="64" y="121"/>
                            <a:pt x="64" y="121"/>
                          </a:cubicBezTo>
                          <a:cubicBezTo>
                            <a:pt x="64" y="122"/>
                            <a:pt x="65" y="122"/>
                            <a:pt x="65" y="123"/>
                          </a:cubicBezTo>
                          <a:cubicBezTo>
                            <a:pt x="66" y="124"/>
                            <a:pt x="67" y="125"/>
                            <a:pt x="68" y="126"/>
                          </a:cubicBezTo>
                          <a:cubicBezTo>
                            <a:pt x="68" y="130"/>
                            <a:pt x="68" y="130"/>
                            <a:pt x="68" y="130"/>
                          </a:cubicBezTo>
                          <a:cubicBezTo>
                            <a:pt x="67" y="129"/>
                            <a:pt x="66" y="128"/>
                            <a:pt x="65" y="127"/>
                          </a:cubicBezTo>
                          <a:close/>
                          <a:moveTo>
                            <a:pt x="77" y="138"/>
                          </a:moveTo>
                          <a:cubicBezTo>
                            <a:pt x="75" y="137"/>
                            <a:pt x="74" y="136"/>
                            <a:pt x="72" y="134"/>
                          </a:cubicBezTo>
                          <a:cubicBezTo>
                            <a:pt x="72" y="130"/>
                            <a:pt x="72" y="130"/>
                            <a:pt x="72" y="130"/>
                          </a:cubicBezTo>
                          <a:cubicBezTo>
                            <a:pt x="73" y="132"/>
                            <a:pt x="75" y="133"/>
                            <a:pt x="76" y="134"/>
                          </a:cubicBezTo>
                          <a:cubicBezTo>
                            <a:pt x="77" y="134"/>
                            <a:pt x="77" y="134"/>
                            <a:pt x="77" y="135"/>
                          </a:cubicBezTo>
                          <a:cubicBezTo>
                            <a:pt x="77" y="125"/>
                            <a:pt x="77" y="125"/>
                            <a:pt x="77" y="125"/>
                          </a:cubicBezTo>
                          <a:cubicBezTo>
                            <a:pt x="77" y="124"/>
                            <a:pt x="77" y="124"/>
                            <a:pt x="77" y="124"/>
                          </a:cubicBezTo>
                          <a:cubicBezTo>
                            <a:pt x="77" y="119"/>
                            <a:pt x="77" y="119"/>
                            <a:pt x="77" y="119"/>
                          </a:cubicBezTo>
                          <a:cubicBezTo>
                            <a:pt x="76" y="119"/>
                            <a:pt x="74" y="118"/>
                            <a:pt x="73" y="118"/>
                          </a:cubicBezTo>
                          <a:cubicBezTo>
                            <a:pt x="73" y="117"/>
                            <a:pt x="73" y="117"/>
                            <a:pt x="73" y="117"/>
                          </a:cubicBezTo>
                          <a:cubicBezTo>
                            <a:pt x="72" y="114"/>
                            <a:pt x="72" y="114"/>
                            <a:pt x="72" y="114"/>
                          </a:cubicBezTo>
                          <a:cubicBezTo>
                            <a:pt x="72" y="114"/>
                            <a:pt x="72" y="114"/>
                            <a:pt x="72" y="114"/>
                          </a:cubicBezTo>
                          <a:cubicBezTo>
                            <a:pt x="72" y="113"/>
                            <a:pt x="72" y="113"/>
                            <a:pt x="72" y="113"/>
                          </a:cubicBezTo>
                          <a:cubicBezTo>
                            <a:pt x="74" y="114"/>
                            <a:pt x="76" y="114"/>
                            <a:pt x="78" y="115"/>
                          </a:cubicBezTo>
                          <a:cubicBezTo>
                            <a:pt x="79" y="115"/>
                            <a:pt x="80" y="116"/>
                            <a:pt x="81" y="116"/>
                          </a:cubicBezTo>
                          <a:cubicBezTo>
                            <a:pt x="81" y="121"/>
                            <a:pt x="81" y="121"/>
                            <a:pt x="81" y="121"/>
                          </a:cubicBezTo>
                          <a:cubicBezTo>
                            <a:pt x="81" y="128"/>
                            <a:pt x="81" y="128"/>
                            <a:pt x="81" y="128"/>
                          </a:cubicBezTo>
                          <a:cubicBezTo>
                            <a:pt x="81" y="137"/>
                            <a:pt x="81" y="137"/>
                            <a:pt x="81" y="137"/>
                          </a:cubicBezTo>
                          <a:cubicBezTo>
                            <a:pt x="83" y="138"/>
                            <a:pt x="85" y="140"/>
                            <a:pt x="87" y="141"/>
                          </a:cubicBezTo>
                          <a:cubicBezTo>
                            <a:pt x="87" y="145"/>
                            <a:pt x="87" y="145"/>
                            <a:pt x="87" y="145"/>
                          </a:cubicBezTo>
                          <a:cubicBezTo>
                            <a:pt x="83" y="143"/>
                            <a:pt x="80" y="141"/>
                            <a:pt x="77" y="138"/>
                          </a:cubicBezTo>
                          <a:close/>
                          <a:moveTo>
                            <a:pt x="110" y="149"/>
                          </a:moveTo>
                          <a:cubicBezTo>
                            <a:pt x="109" y="150"/>
                            <a:pt x="109" y="150"/>
                            <a:pt x="108" y="151"/>
                          </a:cubicBezTo>
                          <a:cubicBezTo>
                            <a:pt x="107" y="153"/>
                            <a:pt x="105" y="153"/>
                            <a:pt x="103" y="153"/>
                          </a:cubicBezTo>
                          <a:cubicBezTo>
                            <a:pt x="100" y="152"/>
                            <a:pt x="96" y="149"/>
                            <a:pt x="95" y="146"/>
                          </a:cubicBezTo>
                          <a:cubicBezTo>
                            <a:pt x="94" y="145"/>
                            <a:pt x="93" y="139"/>
                            <a:pt x="93" y="134"/>
                          </a:cubicBezTo>
                          <a:cubicBezTo>
                            <a:pt x="93" y="132"/>
                            <a:pt x="93" y="130"/>
                            <a:pt x="94" y="129"/>
                          </a:cubicBezTo>
                          <a:cubicBezTo>
                            <a:pt x="95" y="126"/>
                            <a:pt x="97" y="126"/>
                            <a:pt x="101" y="127"/>
                          </a:cubicBezTo>
                          <a:cubicBezTo>
                            <a:pt x="106" y="128"/>
                            <a:pt x="108" y="131"/>
                            <a:pt x="109" y="134"/>
                          </a:cubicBezTo>
                          <a:cubicBezTo>
                            <a:pt x="109" y="135"/>
                            <a:pt x="109" y="135"/>
                            <a:pt x="110" y="135"/>
                          </a:cubicBezTo>
                          <a:cubicBezTo>
                            <a:pt x="110" y="137"/>
                            <a:pt x="110" y="138"/>
                            <a:pt x="111" y="140"/>
                          </a:cubicBezTo>
                          <a:cubicBezTo>
                            <a:pt x="111" y="145"/>
                            <a:pt x="110" y="149"/>
                            <a:pt x="110" y="149"/>
                          </a:cubicBezTo>
                          <a:close/>
                          <a:moveTo>
                            <a:pt x="119" y="157"/>
                          </a:moveTo>
                          <a:cubicBezTo>
                            <a:pt x="119" y="153"/>
                            <a:pt x="119" y="153"/>
                            <a:pt x="119" y="153"/>
                          </a:cubicBezTo>
                          <a:cubicBezTo>
                            <a:pt x="122" y="153"/>
                            <a:pt x="124" y="154"/>
                            <a:pt x="127" y="154"/>
                          </a:cubicBezTo>
                          <a:cubicBezTo>
                            <a:pt x="127" y="143"/>
                            <a:pt x="127" y="143"/>
                            <a:pt x="127" y="143"/>
                          </a:cubicBezTo>
                          <a:cubicBezTo>
                            <a:pt x="127" y="139"/>
                            <a:pt x="127" y="139"/>
                            <a:pt x="127" y="139"/>
                          </a:cubicBezTo>
                          <a:cubicBezTo>
                            <a:pt x="125" y="139"/>
                            <a:pt x="122" y="139"/>
                            <a:pt x="120" y="140"/>
                          </a:cubicBezTo>
                          <a:cubicBezTo>
                            <a:pt x="119" y="137"/>
                            <a:pt x="119" y="137"/>
                            <a:pt x="119" y="137"/>
                          </a:cubicBezTo>
                          <a:cubicBezTo>
                            <a:pt x="118" y="135"/>
                            <a:pt x="118" y="135"/>
                            <a:pt x="118" y="135"/>
                          </a:cubicBezTo>
                          <a:cubicBezTo>
                            <a:pt x="122" y="135"/>
                            <a:pt x="126" y="134"/>
                            <a:pt x="129" y="134"/>
                          </a:cubicBezTo>
                          <a:cubicBezTo>
                            <a:pt x="130" y="134"/>
                            <a:pt x="131" y="134"/>
                            <a:pt x="132" y="134"/>
                          </a:cubicBezTo>
                          <a:cubicBezTo>
                            <a:pt x="132" y="139"/>
                            <a:pt x="132" y="139"/>
                            <a:pt x="132" y="139"/>
                          </a:cubicBezTo>
                          <a:cubicBezTo>
                            <a:pt x="132" y="144"/>
                            <a:pt x="132" y="144"/>
                            <a:pt x="132" y="144"/>
                          </a:cubicBezTo>
                          <a:cubicBezTo>
                            <a:pt x="132" y="155"/>
                            <a:pt x="132" y="155"/>
                            <a:pt x="132" y="155"/>
                          </a:cubicBezTo>
                          <a:cubicBezTo>
                            <a:pt x="135" y="155"/>
                            <a:pt x="138" y="155"/>
                            <a:pt x="141" y="156"/>
                          </a:cubicBezTo>
                          <a:cubicBezTo>
                            <a:pt x="141" y="160"/>
                            <a:pt x="141" y="160"/>
                            <a:pt x="141" y="160"/>
                          </a:cubicBezTo>
                          <a:cubicBezTo>
                            <a:pt x="133" y="159"/>
                            <a:pt x="126" y="158"/>
                            <a:pt x="119" y="157"/>
                          </a:cubicBezTo>
                          <a:close/>
                          <a:moveTo>
                            <a:pt x="152" y="159"/>
                          </a:moveTo>
                          <a:cubicBezTo>
                            <a:pt x="152" y="159"/>
                            <a:pt x="152" y="159"/>
                            <a:pt x="152" y="158"/>
                          </a:cubicBezTo>
                          <a:cubicBezTo>
                            <a:pt x="148" y="155"/>
                            <a:pt x="148" y="149"/>
                            <a:pt x="148" y="145"/>
                          </a:cubicBezTo>
                          <a:cubicBezTo>
                            <a:pt x="148" y="144"/>
                            <a:pt x="149" y="143"/>
                            <a:pt x="149" y="142"/>
                          </a:cubicBezTo>
                          <a:cubicBezTo>
                            <a:pt x="149" y="141"/>
                            <a:pt x="150" y="140"/>
                            <a:pt x="150" y="139"/>
                          </a:cubicBezTo>
                          <a:cubicBezTo>
                            <a:pt x="153" y="136"/>
                            <a:pt x="157" y="135"/>
                            <a:pt x="159" y="135"/>
                          </a:cubicBezTo>
                          <a:cubicBezTo>
                            <a:pt x="163" y="135"/>
                            <a:pt x="166" y="136"/>
                            <a:pt x="167" y="138"/>
                          </a:cubicBezTo>
                          <a:cubicBezTo>
                            <a:pt x="168" y="140"/>
                            <a:pt x="169" y="141"/>
                            <a:pt x="169" y="144"/>
                          </a:cubicBezTo>
                          <a:cubicBezTo>
                            <a:pt x="169" y="144"/>
                            <a:pt x="169" y="144"/>
                            <a:pt x="169" y="144"/>
                          </a:cubicBezTo>
                          <a:cubicBezTo>
                            <a:pt x="172" y="160"/>
                            <a:pt x="158" y="163"/>
                            <a:pt x="152" y="159"/>
                          </a:cubicBezTo>
                          <a:close/>
                          <a:moveTo>
                            <a:pt x="195" y="153"/>
                          </a:moveTo>
                          <a:cubicBezTo>
                            <a:pt x="194" y="154"/>
                            <a:pt x="192" y="154"/>
                            <a:pt x="191" y="155"/>
                          </a:cubicBezTo>
                          <a:cubicBezTo>
                            <a:pt x="191" y="155"/>
                            <a:pt x="190" y="155"/>
                            <a:pt x="189" y="155"/>
                          </a:cubicBezTo>
                          <a:cubicBezTo>
                            <a:pt x="186" y="156"/>
                            <a:pt x="182" y="157"/>
                            <a:pt x="179" y="158"/>
                          </a:cubicBezTo>
                          <a:cubicBezTo>
                            <a:pt x="179" y="153"/>
                            <a:pt x="179" y="153"/>
                            <a:pt x="179" y="153"/>
                          </a:cubicBezTo>
                          <a:cubicBezTo>
                            <a:pt x="181" y="153"/>
                            <a:pt x="184" y="152"/>
                            <a:pt x="187" y="152"/>
                          </a:cubicBezTo>
                          <a:cubicBezTo>
                            <a:pt x="187" y="140"/>
                            <a:pt x="187" y="140"/>
                            <a:pt x="187" y="140"/>
                          </a:cubicBezTo>
                          <a:cubicBezTo>
                            <a:pt x="187" y="136"/>
                            <a:pt x="187" y="136"/>
                            <a:pt x="187" y="136"/>
                          </a:cubicBezTo>
                          <a:cubicBezTo>
                            <a:pt x="185" y="137"/>
                            <a:pt x="182" y="139"/>
                            <a:pt x="180" y="140"/>
                          </a:cubicBezTo>
                          <a:cubicBezTo>
                            <a:pt x="178" y="137"/>
                            <a:pt x="178" y="137"/>
                            <a:pt x="178" y="137"/>
                          </a:cubicBezTo>
                          <a:cubicBezTo>
                            <a:pt x="178" y="136"/>
                            <a:pt x="178" y="136"/>
                            <a:pt x="178" y="136"/>
                          </a:cubicBezTo>
                          <a:cubicBezTo>
                            <a:pt x="181" y="135"/>
                            <a:pt x="185" y="132"/>
                            <a:pt x="189" y="131"/>
                          </a:cubicBezTo>
                          <a:cubicBezTo>
                            <a:pt x="189" y="130"/>
                            <a:pt x="190" y="130"/>
                            <a:pt x="191" y="130"/>
                          </a:cubicBezTo>
                          <a:cubicBezTo>
                            <a:pt x="192" y="130"/>
                            <a:pt x="192" y="130"/>
                            <a:pt x="192" y="129"/>
                          </a:cubicBezTo>
                          <a:cubicBezTo>
                            <a:pt x="192" y="133"/>
                            <a:pt x="192" y="133"/>
                            <a:pt x="192" y="133"/>
                          </a:cubicBezTo>
                          <a:cubicBezTo>
                            <a:pt x="192" y="139"/>
                            <a:pt x="192" y="139"/>
                            <a:pt x="192" y="139"/>
                          </a:cubicBezTo>
                          <a:cubicBezTo>
                            <a:pt x="192" y="150"/>
                            <a:pt x="192" y="150"/>
                            <a:pt x="192" y="150"/>
                          </a:cubicBezTo>
                          <a:cubicBezTo>
                            <a:pt x="193" y="150"/>
                            <a:pt x="194" y="149"/>
                            <a:pt x="195" y="149"/>
                          </a:cubicBezTo>
                          <a:cubicBezTo>
                            <a:pt x="197" y="149"/>
                            <a:pt x="198" y="148"/>
                            <a:pt x="200" y="147"/>
                          </a:cubicBezTo>
                          <a:cubicBezTo>
                            <a:pt x="200" y="152"/>
                            <a:pt x="200" y="152"/>
                            <a:pt x="200" y="152"/>
                          </a:cubicBezTo>
                          <a:cubicBezTo>
                            <a:pt x="198" y="152"/>
                            <a:pt x="197" y="153"/>
                            <a:pt x="195" y="153"/>
                          </a:cubicBezTo>
                          <a:close/>
                          <a:moveTo>
                            <a:pt x="221" y="141"/>
                          </a:moveTo>
                          <a:cubicBezTo>
                            <a:pt x="217" y="144"/>
                            <a:pt x="212" y="147"/>
                            <a:pt x="207" y="149"/>
                          </a:cubicBezTo>
                          <a:cubicBezTo>
                            <a:pt x="207" y="145"/>
                            <a:pt x="207" y="145"/>
                            <a:pt x="207" y="145"/>
                          </a:cubicBezTo>
                          <a:cubicBezTo>
                            <a:pt x="209" y="144"/>
                            <a:pt x="211" y="143"/>
                            <a:pt x="214" y="141"/>
                          </a:cubicBezTo>
                          <a:cubicBezTo>
                            <a:pt x="214" y="129"/>
                            <a:pt x="214" y="129"/>
                            <a:pt x="214" y="129"/>
                          </a:cubicBezTo>
                          <a:cubicBezTo>
                            <a:pt x="214" y="126"/>
                            <a:pt x="214" y="126"/>
                            <a:pt x="214" y="126"/>
                          </a:cubicBezTo>
                          <a:cubicBezTo>
                            <a:pt x="212" y="128"/>
                            <a:pt x="210" y="129"/>
                            <a:pt x="208" y="131"/>
                          </a:cubicBezTo>
                          <a:cubicBezTo>
                            <a:pt x="206" y="128"/>
                            <a:pt x="206" y="128"/>
                            <a:pt x="206" y="128"/>
                          </a:cubicBezTo>
                          <a:cubicBezTo>
                            <a:pt x="207" y="128"/>
                            <a:pt x="207" y="127"/>
                            <a:pt x="208" y="127"/>
                          </a:cubicBezTo>
                          <a:cubicBezTo>
                            <a:pt x="210" y="125"/>
                            <a:pt x="213" y="122"/>
                            <a:pt x="215" y="120"/>
                          </a:cubicBezTo>
                          <a:cubicBezTo>
                            <a:pt x="216" y="120"/>
                            <a:pt x="217" y="119"/>
                            <a:pt x="218" y="118"/>
                          </a:cubicBezTo>
                          <a:cubicBezTo>
                            <a:pt x="218" y="121"/>
                            <a:pt x="218" y="121"/>
                            <a:pt x="218" y="121"/>
                          </a:cubicBezTo>
                          <a:cubicBezTo>
                            <a:pt x="218" y="127"/>
                            <a:pt x="218" y="127"/>
                            <a:pt x="218" y="127"/>
                          </a:cubicBezTo>
                          <a:cubicBezTo>
                            <a:pt x="218" y="139"/>
                            <a:pt x="218" y="139"/>
                            <a:pt x="218" y="139"/>
                          </a:cubicBezTo>
                          <a:cubicBezTo>
                            <a:pt x="219" y="138"/>
                            <a:pt x="220" y="138"/>
                            <a:pt x="221" y="137"/>
                          </a:cubicBezTo>
                          <a:cubicBezTo>
                            <a:pt x="222" y="136"/>
                            <a:pt x="223" y="136"/>
                            <a:pt x="223" y="135"/>
                          </a:cubicBezTo>
                          <a:cubicBezTo>
                            <a:pt x="223" y="139"/>
                            <a:pt x="223" y="139"/>
                            <a:pt x="223" y="139"/>
                          </a:cubicBezTo>
                          <a:cubicBezTo>
                            <a:pt x="223" y="140"/>
                            <a:pt x="222" y="141"/>
                            <a:pt x="221" y="141"/>
                          </a:cubicBezTo>
                          <a:close/>
                          <a:moveTo>
                            <a:pt x="237" y="123"/>
                          </a:moveTo>
                          <a:cubicBezTo>
                            <a:pt x="237" y="126"/>
                            <a:pt x="236" y="128"/>
                            <a:pt x="234" y="130"/>
                          </a:cubicBezTo>
                          <a:cubicBezTo>
                            <a:pt x="233" y="132"/>
                            <a:pt x="232" y="133"/>
                            <a:pt x="231" y="133"/>
                          </a:cubicBezTo>
                          <a:cubicBezTo>
                            <a:pt x="230" y="133"/>
                            <a:pt x="229" y="132"/>
                            <a:pt x="229" y="130"/>
                          </a:cubicBezTo>
                          <a:cubicBezTo>
                            <a:pt x="228" y="127"/>
                            <a:pt x="227" y="123"/>
                            <a:pt x="228" y="119"/>
                          </a:cubicBezTo>
                          <a:cubicBezTo>
                            <a:pt x="229" y="115"/>
                            <a:pt x="230" y="112"/>
                            <a:pt x="232" y="108"/>
                          </a:cubicBezTo>
                          <a:cubicBezTo>
                            <a:pt x="232" y="107"/>
                            <a:pt x="233" y="106"/>
                            <a:pt x="234" y="106"/>
                          </a:cubicBezTo>
                          <a:cubicBezTo>
                            <a:pt x="235" y="104"/>
                            <a:pt x="236" y="103"/>
                            <a:pt x="237" y="104"/>
                          </a:cubicBezTo>
                          <a:cubicBezTo>
                            <a:pt x="237" y="104"/>
                            <a:pt x="237" y="104"/>
                            <a:pt x="237" y="104"/>
                          </a:cubicBezTo>
                          <a:cubicBezTo>
                            <a:pt x="237" y="104"/>
                            <a:pt x="237" y="104"/>
                            <a:pt x="237" y="104"/>
                          </a:cubicBezTo>
                          <a:cubicBezTo>
                            <a:pt x="239" y="107"/>
                            <a:pt x="239" y="117"/>
                            <a:pt x="237" y="123"/>
                          </a:cubicBezTo>
                          <a:close/>
                          <a:moveTo>
                            <a:pt x="256" y="112"/>
                          </a:moveTo>
                          <a:cubicBezTo>
                            <a:pt x="250" y="112"/>
                            <a:pt x="249" y="106"/>
                            <a:pt x="249" y="101"/>
                          </a:cubicBezTo>
                          <a:cubicBezTo>
                            <a:pt x="249" y="96"/>
                            <a:pt x="250" y="90"/>
                            <a:pt x="256" y="90"/>
                          </a:cubicBezTo>
                          <a:cubicBezTo>
                            <a:pt x="263" y="90"/>
                            <a:pt x="264" y="96"/>
                            <a:pt x="264" y="101"/>
                          </a:cubicBezTo>
                          <a:cubicBezTo>
                            <a:pt x="264" y="106"/>
                            <a:pt x="263" y="112"/>
                            <a:pt x="256" y="112"/>
                          </a:cubicBezTo>
                          <a:close/>
                          <a:moveTo>
                            <a:pt x="287" y="112"/>
                          </a:moveTo>
                          <a:cubicBezTo>
                            <a:pt x="271" y="112"/>
                            <a:pt x="271" y="112"/>
                            <a:pt x="271" y="112"/>
                          </a:cubicBezTo>
                          <a:cubicBezTo>
                            <a:pt x="271" y="108"/>
                            <a:pt x="271" y="108"/>
                            <a:pt x="271" y="108"/>
                          </a:cubicBezTo>
                          <a:cubicBezTo>
                            <a:pt x="277" y="108"/>
                            <a:pt x="277" y="108"/>
                            <a:pt x="277" y="108"/>
                          </a:cubicBezTo>
                          <a:cubicBezTo>
                            <a:pt x="277" y="94"/>
                            <a:pt x="277" y="94"/>
                            <a:pt x="277" y="94"/>
                          </a:cubicBezTo>
                          <a:cubicBezTo>
                            <a:pt x="272" y="97"/>
                            <a:pt x="272" y="97"/>
                            <a:pt x="272" y="97"/>
                          </a:cubicBezTo>
                          <a:cubicBezTo>
                            <a:pt x="270" y="93"/>
                            <a:pt x="270" y="93"/>
                            <a:pt x="270" y="93"/>
                          </a:cubicBezTo>
                          <a:cubicBezTo>
                            <a:pt x="278" y="90"/>
                            <a:pt x="278" y="90"/>
                            <a:pt x="278" y="90"/>
                          </a:cubicBezTo>
                          <a:cubicBezTo>
                            <a:pt x="281" y="90"/>
                            <a:pt x="281" y="90"/>
                            <a:pt x="281" y="90"/>
                          </a:cubicBezTo>
                          <a:cubicBezTo>
                            <a:pt x="281" y="108"/>
                            <a:pt x="281" y="108"/>
                            <a:pt x="281" y="108"/>
                          </a:cubicBezTo>
                          <a:cubicBezTo>
                            <a:pt x="287" y="108"/>
                            <a:pt x="287" y="108"/>
                            <a:pt x="287" y="108"/>
                          </a:cubicBezTo>
                          <a:cubicBezTo>
                            <a:pt x="287" y="112"/>
                            <a:pt x="287" y="112"/>
                            <a:pt x="287" y="112"/>
                          </a:cubicBezTo>
                          <a:cubicBezTo>
                            <a:pt x="287" y="112"/>
                            <a:pt x="287" y="112"/>
                            <a:pt x="287" y="112"/>
                          </a:cubicBezTo>
                          <a:close/>
                          <a:moveTo>
                            <a:pt x="104" y="133"/>
                          </a:moveTo>
                          <a:cubicBezTo>
                            <a:pt x="104" y="133"/>
                            <a:pt x="104" y="133"/>
                            <a:pt x="103" y="132"/>
                          </a:cubicBezTo>
                          <a:cubicBezTo>
                            <a:pt x="102" y="131"/>
                            <a:pt x="101" y="130"/>
                            <a:pt x="100" y="131"/>
                          </a:cubicBezTo>
                          <a:cubicBezTo>
                            <a:pt x="99" y="131"/>
                            <a:pt x="99" y="131"/>
                            <a:pt x="99" y="131"/>
                          </a:cubicBezTo>
                          <a:cubicBezTo>
                            <a:pt x="98" y="132"/>
                            <a:pt x="97" y="134"/>
                            <a:pt x="97" y="136"/>
                          </a:cubicBezTo>
                          <a:cubicBezTo>
                            <a:pt x="97" y="138"/>
                            <a:pt x="97" y="140"/>
                            <a:pt x="97" y="141"/>
                          </a:cubicBezTo>
                          <a:cubicBezTo>
                            <a:pt x="98" y="147"/>
                            <a:pt x="101" y="148"/>
                            <a:pt x="101" y="148"/>
                          </a:cubicBezTo>
                          <a:cubicBezTo>
                            <a:pt x="102" y="148"/>
                            <a:pt x="102" y="148"/>
                            <a:pt x="103" y="148"/>
                          </a:cubicBezTo>
                          <a:cubicBezTo>
                            <a:pt x="104" y="148"/>
                            <a:pt x="104" y="148"/>
                            <a:pt x="105" y="147"/>
                          </a:cubicBezTo>
                          <a:cubicBezTo>
                            <a:pt x="106" y="145"/>
                            <a:pt x="106" y="142"/>
                            <a:pt x="106" y="139"/>
                          </a:cubicBezTo>
                          <a:cubicBezTo>
                            <a:pt x="105" y="137"/>
                            <a:pt x="105" y="135"/>
                            <a:pt x="104" y="133"/>
                          </a:cubicBezTo>
                          <a:close/>
                          <a:moveTo>
                            <a:pt x="235" y="109"/>
                          </a:moveTo>
                          <a:cubicBezTo>
                            <a:pt x="234" y="109"/>
                            <a:pt x="232" y="110"/>
                            <a:pt x="232" y="116"/>
                          </a:cubicBezTo>
                          <a:cubicBezTo>
                            <a:pt x="231" y="117"/>
                            <a:pt x="231" y="119"/>
                            <a:pt x="231" y="122"/>
                          </a:cubicBezTo>
                          <a:cubicBezTo>
                            <a:pt x="231" y="125"/>
                            <a:pt x="232" y="129"/>
                            <a:pt x="234" y="127"/>
                          </a:cubicBezTo>
                          <a:cubicBezTo>
                            <a:pt x="236" y="124"/>
                            <a:pt x="236" y="115"/>
                            <a:pt x="236" y="111"/>
                          </a:cubicBezTo>
                          <a:cubicBezTo>
                            <a:pt x="235" y="110"/>
                            <a:pt x="235" y="109"/>
                            <a:pt x="235" y="109"/>
                          </a:cubicBez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2" name="Freeform 19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581770" y="1479207"/>
                      <a:ext cx="112061" cy="128276"/>
                    </a:xfrm>
                    <a:custGeom>
                      <a:avLst/>
                      <a:gdLst>
                        <a:gd name="T0" fmla="*/ 102 w 102"/>
                        <a:gd name="T1" fmla="*/ 21 h 112"/>
                        <a:gd name="T2" fmla="*/ 101 w 102"/>
                        <a:gd name="T3" fmla="*/ 20 h 112"/>
                        <a:gd name="T4" fmla="*/ 101 w 102"/>
                        <a:gd name="T5" fmla="*/ 19 h 112"/>
                        <a:gd name="T6" fmla="*/ 100 w 102"/>
                        <a:gd name="T7" fmla="*/ 18 h 112"/>
                        <a:gd name="T8" fmla="*/ 100 w 102"/>
                        <a:gd name="T9" fmla="*/ 17 h 112"/>
                        <a:gd name="T10" fmla="*/ 99 w 102"/>
                        <a:gd name="T11" fmla="*/ 17 h 112"/>
                        <a:gd name="T12" fmla="*/ 98 w 102"/>
                        <a:gd name="T13" fmla="*/ 17 h 112"/>
                        <a:gd name="T14" fmla="*/ 97 w 102"/>
                        <a:gd name="T15" fmla="*/ 16 h 112"/>
                        <a:gd name="T16" fmla="*/ 96 w 102"/>
                        <a:gd name="T17" fmla="*/ 16 h 112"/>
                        <a:gd name="T18" fmla="*/ 11 w 102"/>
                        <a:gd name="T19" fmla="*/ 5 h 112"/>
                        <a:gd name="T20" fmla="*/ 0 w 102"/>
                        <a:gd name="T21" fmla="*/ 8 h 112"/>
                        <a:gd name="T22" fmla="*/ 23 w 102"/>
                        <a:gd name="T23" fmla="*/ 94 h 112"/>
                        <a:gd name="T24" fmla="*/ 23 w 102"/>
                        <a:gd name="T25" fmla="*/ 96 h 112"/>
                        <a:gd name="T26" fmla="*/ 24 w 102"/>
                        <a:gd name="T27" fmla="*/ 96 h 112"/>
                        <a:gd name="T28" fmla="*/ 25 w 102"/>
                        <a:gd name="T29" fmla="*/ 97 h 112"/>
                        <a:gd name="T30" fmla="*/ 26 w 102"/>
                        <a:gd name="T31" fmla="*/ 98 h 112"/>
                        <a:gd name="T32" fmla="*/ 26 w 102"/>
                        <a:gd name="T33" fmla="*/ 98 h 112"/>
                        <a:gd name="T34" fmla="*/ 43 w 102"/>
                        <a:gd name="T35" fmla="*/ 98 h 112"/>
                        <a:gd name="T36" fmla="*/ 77 w 102"/>
                        <a:gd name="T37" fmla="*/ 94 h 112"/>
                        <a:gd name="T38" fmla="*/ 91 w 102"/>
                        <a:gd name="T39" fmla="*/ 93 h 112"/>
                        <a:gd name="T40" fmla="*/ 32 w 102"/>
                        <a:gd name="T41" fmla="*/ 87 h 112"/>
                        <a:gd name="T42" fmla="*/ 91 w 102"/>
                        <a:gd name="T43" fmla="*/ 66 h 112"/>
                        <a:gd name="T44" fmla="*/ 92 w 102"/>
                        <a:gd name="T45" fmla="*/ 66 h 112"/>
                        <a:gd name="T46" fmla="*/ 93 w 102"/>
                        <a:gd name="T47" fmla="*/ 66 h 112"/>
                        <a:gd name="T48" fmla="*/ 94 w 102"/>
                        <a:gd name="T49" fmla="*/ 65 h 112"/>
                        <a:gd name="T50" fmla="*/ 94 w 102"/>
                        <a:gd name="T51" fmla="*/ 65 h 112"/>
                        <a:gd name="T52" fmla="*/ 95 w 102"/>
                        <a:gd name="T53" fmla="*/ 64 h 112"/>
                        <a:gd name="T54" fmla="*/ 96 w 102"/>
                        <a:gd name="T55" fmla="*/ 63 h 112"/>
                        <a:gd name="T56" fmla="*/ 96 w 102"/>
                        <a:gd name="T57" fmla="*/ 62 h 112"/>
                        <a:gd name="T58" fmla="*/ 96 w 102"/>
                        <a:gd name="T59" fmla="*/ 61 h 112"/>
                        <a:gd name="T60" fmla="*/ 102 w 102"/>
                        <a:gd name="T61" fmla="*/ 22 h 112"/>
                        <a:gd name="T62" fmla="*/ 102 w 102"/>
                        <a:gd name="T63" fmla="*/ 22 h 112"/>
                        <a:gd name="T64" fmla="*/ 24 w 102"/>
                        <a:gd name="T65" fmla="*/ 55 h 112"/>
                        <a:gd name="T66" fmla="*/ 87 w 102"/>
                        <a:gd name="T67" fmla="*/ 47 h 112"/>
                        <a:gd name="T68" fmla="*/ 86 w 102"/>
                        <a:gd name="T69" fmla="*/ 55 h 112"/>
                        <a:gd name="T70" fmla="*/ 19 w 102"/>
                        <a:gd name="T71" fmla="*/ 35 h 112"/>
                        <a:gd name="T72" fmla="*/ 90 w 102"/>
                        <a:gd name="T73" fmla="*/ 27 h 112"/>
                        <a:gd name="T74" fmla="*/ 89 w 102"/>
                        <a:gd name="T75" fmla="*/ 35 h 112"/>
                        <a:gd name="T76" fmla="*/ 34 w 102"/>
                        <a:gd name="T77" fmla="*/ 112 h 112"/>
                        <a:gd name="T78" fmla="*/ 34 w 102"/>
                        <a:gd name="T79" fmla="*/ 97 h 112"/>
                        <a:gd name="T80" fmla="*/ 85 w 102"/>
                        <a:gd name="T81" fmla="*/ 105 h 112"/>
                        <a:gd name="T82" fmla="*/ 69 w 102"/>
                        <a:gd name="T83" fmla="*/ 105 h 112"/>
                        <a:gd name="T84" fmla="*/ 85 w 102"/>
                        <a:gd name="T85" fmla="*/ 105 h 1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02" h="112">
                          <a:moveTo>
                            <a:pt x="102" y="22"/>
                          </a:moveTo>
                          <a:cubicBezTo>
                            <a:pt x="102" y="21"/>
                            <a:pt x="102" y="21"/>
                            <a:pt x="102" y="21"/>
                          </a:cubicBezTo>
                          <a:cubicBezTo>
                            <a:pt x="102" y="21"/>
                            <a:pt x="102" y="21"/>
                            <a:pt x="102" y="21"/>
                          </a:cubicBezTo>
                          <a:cubicBezTo>
                            <a:pt x="101" y="20"/>
                            <a:pt x="101" y="20"/>
                            <a:pt x="101" y="20"/>
                          </a:cubicBezTo>
                          <a:cubicBezTo>
                            <a:pt x="101" y="20"/>
                            <a:pt x="101" y="20"/>
                            <a:pt x="101" y="20"/>
                          </a:cubicBezTo>
                          <a:cubicBezTo>
                            <a:pt x="101" y="19"/>
                            <a:pt x="101" y="19"/>
                            <a:pt x="101" y="19"/>
                          </a:cubicBezTo>
                          <a:cubicBezTo>
                            <a:pt x="101" y="19"/>
                            <a:pt x="101" y="19"/>
                            <a:pt x="101" y="19"/>
                          </a:cubicBezTo>
                          <a:cubicBezTo>
                            <a:pt x="101" y="19"/>
                            <a:pt x="101" y="19"/>
                            <a:pt x="100" y="18"/>
                          </a:cubicBezTo>
                          <a:cubicBezTo>
                            <a:pt x="100" y="18"/>
                            <a:pt x="100" y="18"/>
                            <a:pt x="100" y="18"/>
                          </a:cubicBezTo>
                          <a:cubicBezTo>
                            <a:pt x="100" y="18"/>
                            <a:pt x="100" y="18"/>
                            <a:pt x="100" y="17"/>
                          </a:cubicBezTo>
                          <a:cubicBezTo>
                            <a:pt x="100" y="17"/>
                            <a:pt x="99" y="17"/>
                            <a:pt x="99" y="17"/>
                          </a:cubicBezTo>
                          <a:cubicBezTo>
                            <a:pt x="99" y="17"/>
                            <a:pt x="99" y="17"/>
                            <a:pt x="99" y="17"/>
                          </a:cubicBezTo>
                          <a:cubicBezTo>
                            <a:pt x="98" y="17"/>
                            <a:pt x="98" y="17"/>
                            <a:pt x="98" y="17"/>
                          </a:cubicBezTo>
                          <a:cubicBezTo>
                            <a:pt x="98" y="17"/>
                            <a:pt x="98" y="17"/>
                            <a:pt x="98" y="17"/>
                          </a:cubicBezTo>
                          <a:cubicBezTo>
                            <a:pt x="98" y="16"/>
                            <a:pt x="97" y="16"/>
                            <a:pt x="97" y="16"/>
                          </a:cubicBezTo>
                          <a:cubicBezTo>
                            <a:pt x="97" y="16"/>
                            <a:pt x="97" y="16"/>
                            <a:pt x="97" y="16"/>
                          </a:cubicBezTo>
                          <a:cubicBezTo>
                            <a:pt x="97" y="16"/>
                            <a:pt x="97" y="16"/>
                            <a:pt x="97" y="16"/>
                          </a:cubicBezTo>
                          <a:cubicBezTo>
                            <a:pt x="96" y="16"/>
                            <a:pt x="96" y="16"/>
                            <a:pt x="96" y="16"/>
                          </a:cubicBezTo>
                          <a:cubicBezTo>
                            <a:pt x="14" y="16"/>
                            <a:pt x="14" y="16"/>
                            <a:pt x="14" y="16"/>
                          </a:cubicBezTo>
                          <a:cubicBezTo>
                            <a:pt x="11" y="5"/>
                            <a:pt x="11" y="5"/>
                            <a:pt x="11" y="5"/>
                          </a:cubicBezTo>
                          <a:cubicBezTo>
                            <a:pt x="10" y="2"/>
                            <a:pt x="7" y="0"/>
                            <a:pt x="4" y="1"/>
                          </a:cubicBezTo>
                          <a:cubicBezTo>
                            <a:pt x="1" y="2"/>
                            <a:pt x="0" y="5"/>
                            <a:pt x="0" y="8"/>
                          </a:cubicBezTo>
                          <a:cubicBezTo>
                            <a:pt x="22" y="94"/>
                            <a:pt x="22" y="94"/>
                            <a:pt x="22" y="94"/>
                          </a:cubicBezTo>
                          <a:cubicBezTo>
                            <a:pt x="23" y="94"/>
                            <a:pt x="23" y="94"/>
                            <a:pt x="23" y="94"/>
                          </a:cubicBezTo>
                          <a:cubicBezTo>
                            <a:pt x="23" y="95"/>
                            <a:pt x="23" y="95"/>
                            <a:pt x="23" y="95"/>
                          </a:cubicBezTo>
                          <a:cubicBezTo>
                            <a:pt x="23" y="95"/>
                            <a:pt x="23" y="96"/>
                            <a:pt x="23" y="96"/>
                          </a:cubicBezTo>
                          <a:cubicBezTo>
                            <a:pt x="23" y="96"/>
                            <a:pt x="23" y="96"/>
                            <a:pt x="23" y="96"/>
                          </a:cubicBezTo>
                          <a:cubicBezTo>
                            <a:pt x="23" y="96"/>
                            <a:pt x="24" y="96"/>
                            <a:pt x="24" y="96"/>
                          </a:cubicBezTo>
                          <a:cubicBezTo>
                            <a:pt x="24" y="97"/>
                            <a:pt x="24" y="97"/>
                            <a:pt x="24" y="97"/>
                          </a:cubicBezTo>
                          <a:cubicBezTo>
                            <a:pt x="25" y="97"/>
                            <a:pt x="25" y="97"/>
                            <a:pt x="25" y="97"/>
                          </a:cubicBezTo>
                          <a:cubicBezTo>
                            <a:pt x="25" y="97"/>
                            <a:pt x="25" y="97"/>
                            <a:pt x="25" y="97"/>
                          </a:cubicBezTo>
                          <a:cubicBezTo>
                            <a:pt x="25" y="97"/>
                            <a:pt x="25" y="97"/>
                            <a:pt x="26" y="98"/>
                          </a:cubicBezTo>
                          <a:cubicBezTo>
                            <a:pt x="26" y="98"/>
                            <a:pt x="26" y="98"/>
                            <a:pt x="26" y="98"/>
                          </a:cubicBezTo>
                          <a:cubicBezTo>
                            <a:pt x="26" y="98"/>
                            <a:pt x="26" y="98"/>
                            <a:pt x="26" y="98"/>
                          </a:cubicBezTo>
                          <a:cubicBezTo>
                            <a:pt x="28" y="95"/>
                            <a:pt x="31" y="94"/>
                            <a:pt x="34" y="94"/>
                          </a:cubicBezTo>
                          <a:cubicBezTo>
                            <a:pt x="38" y="94"/>
                            <a:pt x="41" y="96"/>
                            <a:pt x="43" y="98"/>
                          </a:cubicBezTo>
                          <a:cubicBezTo>
                            <a:pt x="68" y="98"/>
                            <a:pt x="68" y="98"/>
                            <a:pt x="68" y="98"/>
                          </a:cubicBezTo>
                          <a:cubicBezTo>
                            <a:pt x="71" y="96"/>
                            <a:pt x="73" y="94"/>
                            <a:pt x="77" y="94"/>
                          </a:cubicBezTo>
                          <a:cubicBezTo>
                            <a:pt x="81" y="94"/>
                            <a:pt x="84" y="96"/>
                            <a:pt x="86" y="98"/>
                          </a:cubicBezTo>
                          <a:cubicBezTo>
                            <a:pt x="89" y="98"/>
                            <a:pt x="91" y="96"/>
                            <a:pt x="91" y="93"/>
                          </a:cubicBezTo>
                          <a:cubicBezTo>
                            <a:pt x="91" y="90"/>
                            <a:pt x="88" y="87"/>
                            <a:pt x="85" y="87"/>
                          </a:cubicBezTo>
                          <a:cubicBezTo>
                            <a:pt x="32" y="87"/>
                            <a:pt x="32" y="87"/>
                            <a:pt x="32" y="87"/>
                          </a:cubicBezTo>
                          <a:cubicBezTo>
                            <a:pt x="27" y="66"/>
                            <a:pt x="27" y="66"/>
                            <a:pt x="27" y="66"/>
                          </a:cubicBezTo>
                          <a:cubicBezTo>
                            <a:pt x="91" y="66"/>
                            <a:pt x="91" y="66"/>
                            <a:pt x="91" y="66"/>
                          </a:cubicBezTo>
                          <a:cubicBezTo>
                            <a:pt x="91" y="66"/>
                            <a:pt x="91" y="66"/>
                            <a:pt x="91" y="66"/>
                          </a:cubicBezTo>
                          <a:cubicBezTo>
                            <a:pt x="91" y="66"/>
                            <a:pt x="91" y="66"/>
                            <a:pt x="92" y="66"/>
                          </a:cubicBezTo>
                          <a:cubicBezTo>
                            <a:pt x="92" y="66"/>
                            <a:pt x="92" y="66"/>
                            <a:pt x="92" y="66"/>
                          </a:cubicBezTo>
                          <a:cubicBezTo>
                            <a:pt x="92" y="66"/>
                            <a:pt x="93" y="66"/>
                            <a:pt x="93" y="66"/>
                          </a:cubicBezTo>
                          <a:cubicBezTo>
                            <a:pt x="93" y="66"/>
                            <a:pt x="93" y="66"/>
                            <a:pt x="93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5" y="65"/>
                            <a:pt x="95" y="64"/>
                            <a:pt x="95" y="64"/>
                          </a:cubicBezTo>
                          <a:cubicBezTo>
                            <a:pt x="95" y="64"/>
                            <a:pt x="95" y="64"/>
                            <a:pt x="95" y="64"/>
                          </a:cubicBezTo>
                          <a:cubicBezTo>
                            <a:pt x="96" y="63"/>
                            <a:pt x="96" y="63"/>
                            <a:pt x="96" y="63"/>
                          </a:cubicBezTo>
                          <a:cubicBezTo>
                            <a:pt x="96" y="63"/>
                            <a:pt x="96" y="63"/>
                            <a:pt x="96" y="63"/>
                          </a:cubicBezTo>
                          <a:cubicBezTo>
                            <a:pt x="96" y="63"/>
                            <a:pt x="96" y="63"/>
                            <a:pt x="96" y="62"/>
                          </a:cubicBezTo>
                          <a:cubicBezTo>
                            <a:pt x="96" y="62"/>
                            <a:pt x="96" y="62"/>
                            <a:pt x="96" y="62"/>
                          </a:cubicBezTo>
                          <a:cubicBezTo>
                            <a:pt x="96" y="62"/>
                            <a:pt x="96" y="62"/>
                            <a:pt x="96" y="62"/>
                          </a:cubicBezTo>
                          <a:cubicBezTo>
                            <a:pt x="96" y="61"/>
                            <a:pt x="96" y="61"/>
                            <a:pt x="96" y="61"/>
                          </a:cubicBezTo>
                          <a:cubicBezTo>
                            <a:pt x="102" y="23"/>
                            <a:pt x="102" y="23"/>
                            <a:pt x="102" y="23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lose/>
                          <a:moveTo>
                            <a:pt x="86" y="55"/>
                          </a:moveTo>
                          <a:cubicBezTo>
                            <a:pt x="24" y="55"/>
                            <a:pt x="24" y="55"/>
                            <a:pt x="24" y="55"/>
                          </a:cubicBezTo>
                          <a:cubicBezTo>
                            <a:pt x="22" y="47"/>
                            <a:pt x="22" y="47"/>
                            <a:pt x="22" y="47"/>
                          </a:cubicBezTo>
                          <a:cubicBezTo>
                            <a:pt x="87" y="47"/>
                            <a:pt x="87" y="47"/>
                            <a:pt x="87" y="47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lose/>
                          <a:moveTo>
                            <a:pt x="89" y="35"/>
                          </a:moveTo>
                          <a:cubicBezTo>
                            <a:pt x="19" y="35"/>
                            <a:pt x="19" y="35"/>
                            <a:pt x="19" y="35"/>
                          </a:cubicBezTo>
                          <a:cubicBezTo>
                            <a:pt x="17" y="27"/>
                            <a:pt x="17" y="27"/>
                            <a:pt x="17" y="27"/>
                          </a:cubicBezTo>
                          <a:cubicBezTo>
                            <a:pt x="90" y="27"/>
                            <a:pt x="90" y="27"/>
                            <a:pt x="90" y="27"/>
                          </a:cubicBezTo>
                          <a:cubicBezTo>
                            <a:pt x="89" y="35"/>
                            <a:pt x="89" y="35"/>
                            <a:pt x="89" y="35"/>
                          </a:cubicBezTo>
                          <a:cubicBezTo>
                            <a:pt x="89" y="35"/>
                            <a:pt x="89" y="35"/>
                            <a:pt x="89" y="35"/>
                          </a:cubicBezTo>
                          <a:close/>
                          <a:moveTo>
                            <a:pt x="42" y="105"/>
                          </a:moveTo>
                          <a:cubicBezTo>
                            <a:pt x="42" y="109"/>
                            <a:pt x="39" y="112"/>
                            <a:pt x="34" y="112"/>
                          </a:cubicBezTo>
                          <a:cubicBezTo>
                            <a:pt x="30" y="112"/>
                            <a:pt x="27" y="109"/>
                            <a:pt x="27" y="105"/>
                          </a:cubicBezTo>
                          <a:cubicBezTo>
                            <a:pt x="27" y="100"/>
                            <a:pt x="30" y="97"/>
                            <a:pt x="34" y="97"/>
                          </a:cubicBezTo>
                          <a:cubicBezTo>
                            <a:pt x="39" y="97"/>
                            <a:pt x="42" y="100"/>
                            <a:pt x="42" y="105"/>
                          </a:cubicBezTo>
                          <a:close/>
                          <a:moveTo>
                            <a:pt x="85" y="105"/>
                          </a:moveTo>
                          <a:cubicBezTo>
                            <a:pt x="85" y="109"/>
                            <a:pt x="82" y="112"/>
                            <a:pt x="77" y="112"/>
                          </a:cubicBezTo>
                          <a:cubicBezTo>
                            <a:pt x="73" y="112"/>
                            <a:pt x="69" y="109"/>
                            <a:pt x="69" y="105"/>
                          </a:cubicBezTo>
                          <a:cubicBezTo>
                            <a:pt x="69" y="100"/>
                            <a:pt x="73" y="97"/>
                            <a:pt x="77" y="97"/>
                          </a:cubicBezTo>
                          <a:cubicBezTo>
                            <a:pt x="82" y="97"/>
                            <a:pt x="85" y="100"/>
                            <a:pt x="85" y="105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3" name="Freeform 199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948084" y="817760"/>
                      <a:ext cx="171729" cy="169023"/>
                    </a:xfrm>
                    <a:custGeom>
                      <a:avLst/>
                      <a:gdLst>
                        <a:gd name="T0" fmla="*/ 132 w 156"/>
                        <a:gd name="T1" fmla="*/ 15 h 148"/>
                        <a:gd name="T2" fmla="*/ 78 w 156"/>
                        <a:gd name="T3" fmla="*/ 0 h 148"/>
                        <a:gd name="T4" fmla="*/ 24 w 156"/>
                        <a:gd name="T5" fmla="*/ 15 h 148"/>
                        <a:gd name="T6" fmla="*/ 0 w 156"/>
                        <a:gd name="T7" fmla="*/ 55 h 148"/>
                        <a:gd name="T8" fmla="*/ 25 w 156"/>
                        <a:gd name="T9" fmla="*/ 96 h 148"/>
                        <a:gd name="T10" fmla="*/ 20 w 156"/>
                        <a:gd name="T11" fmla="*/ 121 h 148"/>
                        <a:gd name="T12" fmla="*/ 16 w 156"/>
                        <a:gd name="T13" fmla="*/ 142 h 148"/>
                        <a:gd name="T14" fmla="*/ 15 w 156"/>
                        <a:gd name="T15" fmla="*/ 148 h 148"/>
                        <a:gd name="T16" fmla="*/ 19 w 156"/>
                        <a:gd name="T17" fmla="*/ 143 h 148"/>
                        <a:gd name="T18" fmla="*/ 33 w 156"/>
                        <a:gd name="T19" fmla="*/ 127 h 148"/>
                        <a:gd name="T20" fmla="*/ 53 w 156"/>
                        <a:gd name="T21" fmla="*/ 107 h 148"/>
                        <a:gd name="T22" fmla="*/ 78 w 156"/>
                        <a:gd name="T23" fmla="*/ 110 h 148"/>
                        <a:gd name="T24" fmla="*/ 132 w 156"/>
                        <a:gd name="T25" fmla="*/ 94 h 148"/>
                        <a:gd name="T26" fmla="*/ 156 w 156"/>
                        <a:gd name="T27" fmla="*/ 55 h 148"/>
                        <a:gd name="T28" fmla="*/ 132 w 156"/>
                        <a:gd name="T29" fmla="*/ 15 h 148"/>
                        <a:gd name="T30" fmla="*/ 36 w 156"/>
                        <a:gd name="T31" fmla="*/ 92 h 148"/>
                        <a:gd name="T32" fmla="*/ 36 w 156"/>
                        <a:gd name="T33" fmla="*/ 91 h 148"/>
                        <a:gd name="T34" fmla="*/ 35 w 156"/>
                        <a:gd name="T35" fmla="*/ 91 h 148"/>
                        <a:gd name="T36" fmla="*/ 9 w 156"/>
                        <a:gd name="T37" fmla="*/ 55 h 148"/>
                        <a:gd name="T38" fmla="*/ 78 w 156"/>
                        <a:gd name="T39" fmla="*/ 10 h 148"/>
                        <a:gd name="T40" fmla="*/ 147 w 156"/>
                        <a:gd name="T41" fmla="*/ 55 h 148"/>
                        <a:gd name="T42" fmla="*/ 78 w 156"/>
                        <a:gd name="T43" fmla="*/ 100 h 148"/>
                        <a:gd name="T44" fmla="*/ 51 w 156"/>
                        <a:gd name="T45" fmla="*/ 97 h 148"/>
                        <a:gd name="T46" fmla="*/ 50 w 156"/>
                        <a:gd name="T47" fmla="*/ 96 h 148"/>
                        <a:gd name="T48" fmla="*/ 49 w 156"/>
                        <a:gd name="T49" fmla="*/ 97 h 148"/>
                        <a:gd name="T50" fmla="*/ 30 w 156"/>
                        <a:gd name="T51" fmla="*/ 118 h 148"/>
                        <a:gd name="T52" fmla="*/ 36 w 156"/>
                        <a:gd name="T53" fmla="*/ 92 h 148"/>
                        <a:gd name="T54" fmla="*/ 36 w 156"/>
                        <a:gd name="T55" fmla="*/ 92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156" h="148">
                          <a:moveTo>
                            <a:pt x="132" y="15"/>
                          </a:moveTo>
                          <a:cubicBezTo>
                            <a:pt x="118" y="5"/>
                            <a:pt x="98" y="0"/>
                            <a:pt x="78" y="0"/>
                          </a:cubicBezTo>
                          <a:cubicBezTo>
                            <a:pt x="57" y="0"/>
                            <a:pt x="38" y="5"/>
                            <a:pt x="24" y="15"/>
                          </a:cubicBezTo>
                          <a:cubicBezTo>
                            <a:pt x="8" y="26"/>
                            <a:pt x="0" y="40"/>
                            <a:pt x="0" y="55"/>
                          </a:cubicBezTo>
                          <a:cubicBezTo>
                            <a:pt x="0" y="70"/>
                            <a:pt x="9" y="85"/>
                            <a:pt x="25" y="96"/>
                          </a:cubicBezTo>
                          <a:cubicBezTo>
                            <a:pt x="20" y="121"/>
                            <a:pt x="20" y="121"/>
                            <a:pt x="20" y="121"/>
                          </a:cubicBezTo>
                          <a:cubicBezTo>
                            <a:pt x="16" y="142"/>
                            <a:pt x="16" y="142"/>
                            <a:pt x="16" y="142"/>
                          </a:cubicBezTo>
                          <a:cubicBezTo>
                            <a:pt x="15" y="148"/>
                            <a:pt x="15" y="148"/>
                            <a:pt x="15" y="148"/>
                          </a:cubicBezTo>
                          <a:cubicBezTo>
                            <a:pt x="19" y="143"/>
                            <a:pt x="19" y="143"/>
                            <a:pt x="19" y="143"/>
                          </a:cubicBezTo>
                          <a:cubicBezTo>
                            <a:pt x="33" y="127"/>
                            <a:pt x="33" y="127"/>
                            <a:pt x="33" y="127"/>
                          </a:cubicBezTo>
                          <a:cubicBezTo>
                            <a:pt x="53" y="107"/>
                            <a:pt x="53" y="107"/>
                            <a:pt x="53" y="107"/>
                          </a:cubicBezTo>
                          <a:cubicBezTo>
                            <a:pt x="61" y="108"/>
                            <a:pt x="69" y="110"/>
                            <a:pt x="78" y="110"/>
                          </a:cubicBezTo>
                          <a:cubicBezTo>
                            <a:pt x="98" y="110"/>
                            <a:pt x="118" y="104"/>
                            <a:pt x="132" y="94"/>
                          </a:cubicBezTo>
                          <a:cubicBezTo>
                            <a:pt x="148" y="84"/>
                            <a:pt x="156" y="70"/>
                            <a:pt x="156" y="55"/>
                          </a:cubicBezTo>
                          <a:cubicBezTo>
                            <a:pt x="156" y="40"/>
                            <a:pt x="148" y="26"/>
                            <a:pt x="132" y="15"/>
                          </a:cubicBezTo>
                          <a:close/>
                          <a:moveTo>
                            <a:pt x="36" y="92"/>
                          </a:moveTo>
                          <a:cubicBezTo>
                            <a:pt x="36" y="91"/>
                            <a:pt x="36" y="91"/>
                            <a:pt x="36" y="91"/>
                          </a:cubicBezTo>
                          <a:cubicBezTo>
                            <a:pt x="35" y="91"/>
                            <a:pt x="35" y="91"/>
                            <a:pt x="35" y="91"/>
                          </a:cubicBezTo>
                          <a:cubicBezTo>
                            <a:pt x="18" y="81"/>
                            <a:pt x="9" y="69"/>
                            <a:pt x="9" y="55"/>
                          </a:cubicBezTo>
                          <a:cubicBezTo>
                            <a:pt x="9" y="30"/>
                            <a:pt x="40" y="10"/>
                            <a:pt x="78" y="10"/>
                          </a:cubicBezTo>
                          <a:cubicBezTo>
                            <a:pt x="116" y="10"/>
                            <a:pt x="147" y="30"/>
                            <a:pt x="147" y="55"/>
                          </a:cubicBezTo>
                          <a:cubicBezTo>
                            <a:pt x="147" y="80"/>
                            <a:pt x="116" y="100"/>
                            <a:pt x="78" y="100"/>
                          </a:cubicBezTo>
                          <a:cubicBezTo>
                            <a:pt x="68" y="100"/>
                            <a:pt x="59" y="99"/>
                            <a:pt x="51" y="97"/>
                          </a:cubicBezTo>
                          <a:cubicBezTo>
                            <a:pt x="50" y="96"/>
                            <a:pt x="50" y="96"/>
                            <a:pt x="50" y="96"/>
                          </a:cubicBezTo>
                          <a:cubicBezTo>
                            <a:pt x="49" y="97"/>
                            <a:pt x="49" y="97"/>
                            <a:pt x="49" y="97"/>
                          </a:cubicBezTo>
                          <a:cubicBezTo>
                            <a:pt x="30" y="118"/>
                            <a:pt x="30" y="118"/>
                            <a:pt x="30" y="118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4" name="Freeform 20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921028" y="929604"/>
                      <a:ext cx="136801" cy="140349"/>
                    </a:xfrm>
                    <a:custGeom>
                      <a:avLst/>
                      <a:gdLst>
                        <a:gd name="T0" fmla="*/ 124 w 124"/>
                        <a:gd name="T1" fmla="*/ 45 h 123"/>
                        <a:gd name="T2" fmla="*/ 104 w 124"/>
                        <a:gd name="T3" fmla="*/ 12 h 123"/>
                        <a:gd name="T4" fmla="*/ 60 w 124"/>
                        <a:gd name="T5" fmla="*/ 0 h 123"/>
                        <a:gd name="T6" fmla="*/ 58 w 124"/>
                        <a:gd name="T7" fmla="*/ 0 h 123"/>
                        <a:gd name="T8" fmla="*/ 58 w 124"/>
                        <a:gd name="T9" fmla="*/ 2 h 123"/>
                        <a:gd name="T10" fmla="*/ 58 w 124"/>
                        <a:gd name="T11" fmla="*/ 7 h 123"/>
                        <a:gd name="T12" fmla="*/ 58 w 124"/>
                        <a:gd name="T13" fmla="*/ 8 h 123"/>
                        <a:gd name="T14" fmla="*/ 60 w 124"/>
                        <a:gd name="T15" fmla="*/ 8 h 123"/>
                        <a:gd name="T16" fmla="*/ 116 w 124"/>
                        <a:gd name="T17" fmla="*/ 45 h 123"/>
                        <a:gd name="T18" fmla="*/ 95 w 124"/>
                        <a:gd name="T19" fmla="*/ 74 h 123"/>
                        <a:gd name="T20" fmla="*/ 93 w 124"/>
                        <a:gd name="T21" fmla="*/ 75 h 123"/>
                        <a:gd name="T22" fmla="*/ 93 w 124"/>
                        <a:gd name="T23" fmla="*/ 76 h 123"/>
                        <a:gd name="T24" fmla="*/ 98 w 124"/>
                        <a:gd name="T25" fmla="*/ 97 h 123"/>
                        <a:gd name="T26" fmla="*/ 83 w 124"/>
                        <a:gd name="T27" fmla="*/ 80 h 123"/>
                        <a:gd name="T28" fmla="*/ 82 w 124"/>
                        <a:gd name="T29" fmla="*/ 79 h 123"/>
                        <a:gd name="T30" fmla="*/ 81 w 124"/>
                        <a:gd name="T31" fmla="*/ 80 h 123"/>
                        <a:gd name="T32" fmla="*/ 59 w 124"/>
                        <a:gd name="T33" fmla="*/ 82 h 123"/>
                        <a:gd name="T34" fmla="*/ 9 w 124"/>
                        <a:gd name="T35" fmla="*/ 63 h 123"/>
                        <a:gd name="T36" fmla="*/ 8 w 124"/>
                        <a:gd name="T37" fmla="*/ 61 h 123"/>
                        <a:gd name="T38" fmla="*/ 7 w 124"/>
                        <a:gd name="T39" fmla="*/ 62 h 123"/>
                        <a:gd name="T40" fmla="*/ 2 w 124"/>
                        <a:gd name="T41" fmla="*/ 63 h 123"/>
                        <a:gd name="T42" fmla="*/ 0 w 124"/>
                        <a:gd name="T43" fmla="*/ 64 h 123"/>
                        <a:gd name="T44" fmla="*/ 1 w 124"/>
                        <a:gd name="T45" fmla="*/ 66 h 123"/>
                        <a:gd name="T46" fmla="*/ 14 w 124"/>
                        <a:gd name="T47" fmla="*/ 78 h 123"/>
                        <a:gd name="T48" fmla="*/ 59 w 124"/>
                        <a:gd name="T49" fmla="*/ 91 h 123"/>
                        <a:gd name="T50" fmla="*/ 79 w 124"/>
                        <a:gd name="T51" fmla="*/ 89 h 123"/>
                        <a:gd name="T52" fmla="*/ 95 w 124"/>
                        <a:gd name="T53" fmla="*/ 106 h 123"/>
                        <a:gd name="T54" fmla="*/ 107 w 124"/>
                        <a:gd name="T55" fmla="*/ 119 h 123"/>
                        <a:gd name="T56" fmla="*/ 111 w 124"/>
                        <a:gd name="T57" fmla="*/ 123 h 123"/>
                        <a:gd name="T58" fmla="*/ 110 w 124"/>
                        <a:gd name="T59" fmla="*/ 118 h 123"/>
                        <a:gd name="T60" fmla="*/ 107 w 124"/>
                        <a:gd name="T61" fmla="*/ 100 h 123"/>
                        <a:gd name="T62" fmla="*/ 103 w 124"/>
                        <a:gd name="T63" fmla="*/ 79 h 123"/>
                        <a:gd name="T64" fmla="*/ 124 w 124"/>
                        <a:gd name="T65" fmla="*/ 45 h 1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124" h="123">
                          <a:moveTo>
                            <a:pt x="124" y="45"/>
                          </a:moveTo>
                          <a:cubicBezTo>
                            <a:pt x="124" y="32"/>
                            <a:pt x="117" y="21"/>
                            <a:pt x="104" y="12"/>
                          </a:cubicBezTo>
                          <a:cubicBezTo>
                            <a:pt x="92" y="4"/>
                            <a:pt x="76" y="0"/>
                            <a:pt x="60" y="0"/>
                          </a:cubicBezTo>
                          <a:cubicBezTo>
                            <a:pt x="58" y="0"/>
                            <a:pt x="58" y="0"/>
                            <a:pt x="58" y="0"/>
                          </a:cubicBezTo>
                          <a:cubicBezTo>
                            <a:pt x="58" y="2"/>
                            <a:pt x="58" y="2"/>
                            <a:pt x="58" y="2"/>
                          </a:cubicBezTo>
                          <a:cubicBezTo>
                            <a:pt x="58" y="3"/>
                            <a:pt x="58" y="5"/>
                            <a:pt x="58" y="7"/>
                          </a:cubicBezTo>
                          <a:cubicBezTo>
                            <a:pt x="58" y="8"/>
                            <a:pt x="58" y="8"/>
                            <a:pt x="58" y="8"/>
                          </a:cubicBezTo>
                          <a:cubicBezTo>
                            <a:pt x="60" y="8"/>
                            <a:pt x="60" y="8"/>
                            <a:pt x="60" y="8"/>
                          </a:cubicBezTo>
                          <a:cubicBezTo>
                            <a:pt x="91" y="8"/>
                            <a:pt x="116" y="25"/>
                            <a:pt x="116" y="45"/>
                          </a:cubicBezTo>
                          <a:cubicBezTo>
                            <a:pt x="116" y="57"/>
                            <a:pt x="108" y="68"/>
                            <a:pt x="95" y="74"/>
                          </a:cubicBezTo>
                          <a:cubicBezTo>
                            <a:pt x="93" y="75"/>
                            <a:pt x="93" y="75"/>
                            <a:pt x="93" y="75"/>
                          </a:cubicBezTo>
                          <a:cubicBezTo>
                            <a:pt x="93" y="76"/>
                            <a:pt x="93" y="76"/>
                            <a:pt x="93" y="76"/>
                          </a:cubicBezTo>
                          <a:cubicBezTo>
                            <a:pt x="98" y="97"/>
                            <a:pt x="98" y="97"/>
                            <a:pt x="98" y="97"/>
                          </a:cubicBezTo>
                          <a:cubicBezTo>
                            <a:pt x="83" y="80"/>
                            <a:pt x="83" y="80"/>
                            <a:pt x="83" y="80"/>
                          </a:cubicBezTo>
                          <a:cubicBezTo>
                            <a:pt x="82" y="79"/>
                            <a:pt x="82" y="79"/>
                            <a:pt x="82" y="79"/>
                          </a:cubicBezTo>
                          <a:cubicBezTo>
                            <a:pt x="81" y="80"/>
                            <a:pt x="81" y="80"/>
                            <a:pt x="81" y="80"/>
                          </a:cubicBezTo>
                          <a:cubicBezTo>
                            <a:pt x="74" y="82"/>
                            <a:pt x="66" y="82"/>
                            <a:pt x="59" y="82"/>
                          </a:cubicBezTo>
                          <a:cubicBezTo>
                            <a:pt x="38" y="82"/>
                            <a:pt x="19" y="75"/>
                            <a:pt x="9" y="63"/>
                          </a:cubicBezTo>
                          <a:cubicBezTo>
                            <a:pt x="8" y="61"/>
                            <a:pt x="8" y="61"/>
                            <a:pt x="8" y="61"/>
                          </a:cubicBezTo>
                          <a:cubicBezTo>
                            <a:pt x="7" y="62"/>
                            <a:pt x="7" y="62"/>
                            <a:pt x="7" y="62"/>
                          </a:cubicBezTo>
                          <a:cubicBezTo>
                            <a:pt x="6" y="63"/>
                            <a:pt x="4" y="63"/>
                            <a:pt x="2" y="63"/>
                          </a:cubicBezTo>
                          <a:cubicBezTo>
                            <a:pt x="0" y="64"/>
                            <a:pt x="0" y="64"/>
                            <a:pt x="0" y="64"/>
                          </a:cubicBezTo>
                          <a:cubicBezTo>
                            <a:pt x="1" y="66"/>
                            <a:pt x="1" y="66"/>
                            <a:pt x="1" y="66"/>
                          </a:cubicBezTo>
                          <a:cubicBezTo>
                            <a:pt x="5" y="71"/>
                            <a:pt x="9" y="74"/>
                            <a:pt x="14" y="78"/>
                          </a:cubicBezTo>
                          <a:cubicBezTo>
                            <a:pt x="27" y="87"/>
                            <a:pt x="43" y="91"/>
                            <a:pt x="59" y="91"/>
                          </a:cubicBezTo>
                          <a:cubicBezTo>
                            <a:pt x="66" y="91"/>
                            <a:pt x="73" y="90"/>
                            <a:pt x="79" y="89"/>
                          </a:cubicBezTo>
                          <a:cubicBezTo>
                            <a:pt x="95" y="106"/>
                            <a:pt x="95" y="106"/>
                            <a:pt x="95" y="106"/>
                          </a:cubicBezTo>
                          <a:cubicBezTo>
                            <a:pt x="107" y="119"/>
                            <a:pt x="107" y="119"/>
                            <a:pt x="107" y="119"/>
                          </a:cubicBezTo>
                          <a:cubicBezTo>
                            <a:pt x="111" y="123"/>
                            <a:pt x="111" y="123"/>
                            <a:pt x="111" y="123"/>
                          </a:cubicBezTo>
                          <a:cubicBezTo>
                            <a:pt x="110" y="118"/>
                            <a:pt x="110" y="118"/>
                            <a:pt x="110" y="118"/>
                          </a:cubicBezTo>
                          <a:cubicBezTo>
                            <a:pt x="107" y="100"/>
                            <a:pt x="107" y="100"/>
                            <a:pt x="107" y="100"/>
                          </a:cubicBezTo>
                          <a:cubicBezTo>
                            <a:pt x="103" y="79"/>
                            <a:pt x="103" y="79"/>
                            <a:pt x="103" y="79"/>
                          </a:cubicBezTo>
                          <a:cubicBezTo>
                            <a:pt x="116" y="71"/>
                            <a:pt x="124" y="58"/>
                            <a:pt x="124" y="45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45" name="Group 644"/>
                    <p:cNvGrpSpPr/>
                    <p:nvPr/>
                  </p:nvGrpSpPr>
                  <p:grpSpPr>
                    <a:xfrm rot="16200000">
                      <a:off x="11187929" y="138102"/>
                      <a:ext cx="129784" cy="222667"/>
                      <a:chOff x="11193360" y="90196"/>
                      <a:chExt cx="129784" cy="222667"/>
                    </a:xfrm>
                  </p:grpSpPr>
                  <p:sp>
                    <p:nvSpPr>
                      <p:cNvPr id="706" name="Freeform 20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176293" y="164556"/>
                        <a:ext cx="219755" cy="73947"/>
                      </a:xfrm>
                      <a:custGeom>
                        <a:avLst/>
                        <a:gdLst>
                          <a:gd name="T0" fmla="*/ 100 w 201"/>
                          <a:gd name="T1" fmla="*/ 65 h 65"/>
                          <a:gd name="T2" fmla="*/ 107 w 201"/>
                          <a:gd name="T3" fmla="*/ 63 h 65"/>
                          <a:gd name="T4" fmla="*/ 107 w 201"/>
                          <a:gd name="T5" fmla="*/ 63 h 65"/>
                          <a:gd name="T6" fmla="*/ 201 w 201"/>
                          <a:gd name="T7" fmla="*/ 7 h 65"/>
                          <a:gd name="T8" fmla="*/ 189 w 201"/>
                          <a:gd name="T9" fmla="*/ 0 h 65"/>
                          <a:gd name="T10" fmla="*/ 11 w 201"/>
                          <a:gd name="T11" fmla="*/ 0 h 65"/>
                          <a:gd name="T12" fmla="*/ 0 w 201"/>
                          <a:gd name="T13" fmla="*/ 7 h 65"/>
                          <a:gd name="T14" fmla="*/ 93 w 201"/>
                          <a:gd name="T15" fmla="*/ 63 h 65"/>
                          <a:gd name="T16" fmla="*/ 100 w 201"/>
                          <a:gd name="T17" fmla="*/ 65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01" h="65">
                            <a:moveTo>
                              <a:pt x="100" y="65"/>
                            </a:moveTo>
                            <a:cubicBezTo>
                              <a:pt x="103" y="65"/>
                              <a:pt x="105" y="64"/>
                              <a:pt x="107" y="63"/>
                            </a:cubicBezTo>
                            <a:cubicBezTo>
                              <a:pt x="107" y="63"/>
                              <a:pt x="107" y="63"/>
                              <a:pt x="107" y="63"/>
                            </a:cubicBezTo>
                            <a:cubicBezTo>
                              <a:pt x="201" y="7"/>
                              <a:pt x="201" y="7"/>
                              <a:pt x="201" y="7"/>
                            </a:cubicBezTo>
                            <a:cubicBezTo>
                              <a:pt x="199" y="3"/>
                              <a:pt x="194" y="0"/>
                              <a:pt x="189" y="0"/>
                            </a:cubicBezTo>
                            <a:cubicBezTo>
                              <a:pt x="11" y="0"/>
                              <a:pt x="11" y="0"/>
                              <a:pt x="11" y="0"/>
                            </a:cubicBezTo>
                            <a:cubicBezTo>
                              <a:pt x="6" y="0"/>
                              <a:pt x="2" y="3"/>
                              <a:pt x="0" y="7"/>
                            </a:cubicBezTo>
                            <a:cubicBezTo>
                              <a:pt x="93" y="63"/>
                              <a:pt x="93" y="63"/>
                              <a:pt x="93" y="63"/>
                            </a:cubicBezTo>
                            <a:cubicBezTo>
                              <a:pt x="95" y="64"/>
                              <a:pt x="98" y="65"/>
                              <a:pt x="100" y="65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7" name="Freeform 202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233754" y="243090"/>
                        <a:ext cx="62580" cy="76966"/>
                      </a:xfrm>
                      <a:custGeom>
                        <a:avLst/>
                        <a:gdLst>
                          <a:gd name="T0" fmla="*/ 43 w 43"/>
                          <a:gd name="T1" fmla="*/ 51 h 51"/>
                          <a:gd name="T2" fmla="*/ 43 w 43"/>
                          <a:gd name="T3" fmla="*/ 0 h 51"/>
                          <a:gd name="T4" fmla="*/ 0 w 43"/>
                          <a:gd name="T5" fmla="*/ 25 h 51"/>
                          <a:gd name="T6" fmla="*/ 43 w 43"/>
                          <a:gd name="T7" fmla="*/ 51 h 51"/>
                          <a:gd name="T8" fmla="*/ 43 w 43"/>
                          <a:gd name="T9" fmla="*/ 51 h 51"/>
                          <a:gd name="T10" fmla="*/ 43 w 43"/>
                          <a:gd name="T11" fmla="*/ 51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3" h="51">
                            <a:moveTo>
                              <a:pt x="43" y="51"/>
                            </a:moveTo>
                            <a:lnTo>
                              <a:pt x="43" y="0"/>
                            </a:lnTo>
                            <a:lnTo>
                              <a:pt x="0" y="25"/>
                            </a:lnTo>
                            <a:lnTo>
                              <a:pt x="43" y="51"/>
                            </a:lnTo>
                            <a:lnTo>
                              <a:pt x="43" y="51"/>
                            </a:lnTo>
                            <a:lnTo>
                              <a:pt x="43" y="51"/>
                            </a:ln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8" name="Freeform 203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114473" y="169083"/>
                        <a:ext cx="222666" cy="64892"/>
                      </a:xfrm>
                      <a:custGeom>
                        <a:avLst/>
                        <a:gdLst>
                          <a:gd name="T0" fmla="*/ 0 w 203"/>
                          <a:gd name="T1" fmla="*/ 46 h 58"/>
                          <a:gd name="T2" fmla="*/ 12 w 203"/>
                          <a:gd name="T3" fmla="*/ 58 h 58"/>
                          <a:gd name="T4" fmla="*/ 190 w 203"/>
                          <a:gd name="T5" fmla="*/ 58 h 58"/>
                          <a:gd name="T6" fmla="*/ 203 w 203"/>
                          <a:gd name="T7" fmla="*/ 46 h 58"/>
                          <a:gd name="T8" fmla="*/ 203 w 203"/>
                          <a:gd name="T9" fmla="*/ 39 h 58"/>
                          <a:gd name="T10" fmla="*/ 137 w 203"/>
                          <a:gd name="T11" fmla="*/ 0 h 58"/>
                          <a:gd name="T12" fmla="*/ 113 w 203"/>
                          <a:gd name="T13" fmla="*/ 14 h 58"/>
                          <a:gd name="T14" fmla="*/ 101 w 203"/>
                          <a:gd name="T15" fmla="*/ 17 h 58"/>
                          <a:gd name="T16" fmla="*/ 101 w 203"/>
                          <a:gd name="T17" fmla="*/ 17 h 58"/>
                          <a:gd name="T18" fmla="*/ 89 w 203"/>
                          <a:gd name="T19" fmla="*/ 14 h 58"/>
                          <a:gd name="T20" fmla="*/ 65 w 203"/>
                          <a:gd name="T21" fmla="*/ 0 h 58"/>
                          <a:gd name="T22" fmla="*/ 0 w 203"/>
                          <a:gd name="T23" fmla="*/ 39 h 58"/>
                          <a:gd name="T24" fmla="*/ 0 w 203"/>
                          <a:gd name="T25" fmla="*/ 46 h 58"/>
                          <a:gd name="T26" fmla="*/ 0 w 203"/>
                          <a:gd name="T27" fmla="*/ 46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</a:cxnLst>
                        <a:rect l="0" t="0" r="r" b="b"/>
                        <a:pathLst>
                          <a:path w="203" h="58">
                            <a:moveTo>
                              <a:pt x="0" y="46"/>
                            </a:moveTo>
                            <a:cubicBezTo>
                              <a:pt x="0" y="53"/>
                              <a:pt x="5" y="58"/>
                              <a:pt x="12" y="58"/>
                            </a:cubicBezTo>
                            <a:cubicBezTo>
                              <a:pt x="190" y="58"/>
                              <a:pt x="190" y="58"/>
                              <a:pt x="190" y="58"/>
                            </a:cubicBezTo>
                            <a:cubicBezTo>
                              <a:pt x="197" y="58"/>
                              <a:pt x="203" y="53"/>
                              <a:pt x="203" y="46"/>
                            </a:cubicBezTo>
                            <a:cubicBezTo>
                              <a:pt x="203" y="39"/>
                              <a:pt x="203" y="39"/>
                              <a:pt x="203" y="39"/>
                            </a:cubicBezTo>
                            <a:cubicBezTo>
                              <a:pt x="137" y="0"/>
                              <a:pt x="137" y="0"/>
                              <a:pt x="137" y="0"/>
                            </a:cubicBezTo>
                            <a:cubicBezTo>
                              <a:pt x="113" y="14"/>
                              <a:pt x="113" y="14"/>
                              <a:pt x="113" y="14"/>
                            </a:cubicBezTo>
                            <a:cubicBezTo>
                              <a:pt x="110" y="16"/>
                              <a:pt x="106" y="17"/>
                              <a:pt x="101" y="17"/>
                            </a:cubicBezTo>
                            <a:cubicBezTo>
                              <a:pt x="101" y="17"/>
                              <a:pt x="101" y="17"/>
                              <a:pt x="101" y="17"/>
                            </a:cubicBezTo>
                            <a:cubicBezTo>
                              <a:pt x="97" y="17"/>
                              <a:pt x="93" y="16"/>
                              <a:pt x="89" y="14"/>
                            </a:cubicBezTo>
                            <a:cubicBezTo>
                              <a:pt x="65" y="0"/>
                              <a:pt x="65" y="0"/>
                              <a:pt x="65" y="0"/>
                            </a:cubicBezTo>
                            <a:cubicBezTo>
                              <a:pt x="0" y="39"/>
                              <a:pt x="0" y="39"/>
                              <a:pt x="0" y="39"/>
                            </a:cubicBezTo>
                            <a:cubicBezTo>
                              <a:pt x="0" y="46"/>
                              <a:pt x="0" y="46"/>
                              <a:pt x="0" y="46"/>
                            </a:cubicBezTo>
                            <a:cubicBezTo>
                              <a:pt x="0" y="46"/>
                              <a:pt x="0" y="46"/>
                              <a:pt x="0" y="46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9" name="Freeform 204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234482" y="82276"/>
                        <a:ext cx="61124" cy="76966"/>
                      </a:xfrm>
                      <a:custGeom>
                        <a:avLst/>
                        <a:gdLst>
                          <a:gd name="T0" fmla="*/ 42 w 42"/>
                          <a:gd name="T1" fmla="*/ 25 h 51"/>
                          <a:gd name="T2" fmla="*/ 0 w 42"/>
                          <a:gd name="T3" fmla="*/ 0 h 51"/>
                          <a:gd name="T4" fmla="*/ 0 w 42"/>
                          <a:gd name="T5" fmla="*/ 51 h 51"/>
                          <a:gd name="T6" fmla="*/ 42 w 42"/>
                          <a:gd name="T7" fmla="*/ 25 h 51"/>
                          <a:gd name="T8" fmla="*/ 42 w 42"/>
                          <a:gd name="T9" fmla="*/ 25 h 51"/>
                          <a:gd name="T10" fmla="*/ 42 w 42"/>
                          <a:gd name="T11" fmla="*/ 25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2" h="51">
                            <a:moveTo>
                              <a:pt x="42" y="25"/>
                            </a:moveTo>
                            <a:lnTo>
                              <a:pt x="0" y="0"/>
                            </a:lnTo>
                            <a:lnTo>
                              <a:pt x="0" y="51"/>
                            </a:lnTo>
                            <a:lnTo>
                              <a:pt x="42" y="25"/>
                            </a:lnTo>
                            <a:lnTo>
                              <a:pt x="42" y="25"/>
                            </a:lnTo>
                            <a:lnTo>
                              <a:pt x="42" y="25"/>
                            </a:ln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46" name="Freeform 205"/>
                    <p:cNvSpPr>
                      <a:spLocks noEditPoints="1"/>
                    </p:cNvSpPr>
                    <p:nvPr/>
                  </p:nvSpPr>
                  <p:spPr bwMode="auto">
                    <a:xfrm rot="19800000">
                      <a:off x="11189998" y="1751243"/>
                      <a:ext cx="299798" cy="230898"/>
                    </a:xfrm>
                    <a:custGeom>
                      <a:avLst/>
                      <a:gdLst>
                        <a:gd name="T0" fmla="*/ 232 w 273"/>
                        <a:gd name="T1" fmla="*/ 117 h 203"/>
                        <a:gd name="T2" fmla="*/ 251 w 273"/>
                        <a:gd name="T3" fmla="*/ 185 h 203"/>
                        <a:gd name="T4" fmla="*/ 32 w 273"/>
                        <a:gd name="T5" fmla="*/ 30 h 203"/>
                        <a:gd name="T6" fmla="*/ 99 w 273"/>
                        <a:gd name="T7" fmla="*/ 7 h 203"/>
                        <a:gd name="T8" fmla="*/ 56 w 273"/>
                        <a:gd name="T9" fmla="*/ 1 h 203"/>
                        <a:gd name="T10" fmla="*/ 48 w 273"/>
                        <a:gd name="T11" fmla="*/ 24 h 203"/>
                        <a:gd name="T12" fmla="*/ 0 w 273"/>
                        <a:gd name="T13" fmla="*/ 31 h 203"/>
                        <a:gd name="T14" fmla="*/ 23 w 273"/>
                        <a:gd name="T15" fmla="*/ 20 h 203"/>
                        <a:gd name="T16" fmla="*/ 172 w 273"/>
                        <a:gd name="T17" fmla="*/ 185 h 203"/>
                        <a:gd name="T18" fmla="*/ 45 w 273"/>
                        <a:gd name="T19" fmla="*/ 102 h 203"/>
                        <a:gd name="T20" fmla="*/ 83 w 273"/>
                        <a:gd name="T21" fmla="*/ 51 h 203"/>
                        <a:gd name="T22" fmla="*/ 93 w 273"/>
                        <a:gd name="T23" fmla="*/ 78 h 203"/>
                        <a:gd name="T24" fmla="*/ 99 w 273"/>
                        <a:gd name="T25" fmla="*/ 39 h 203"/>
                        <a:gd name="T26" fmla="*/ 135 w 273"/>
                        <a:gd name="T27" fmla="*/ 11 h 203"/>
                        <a:gd name="T28" fmla="*/ 206 w 273"/>
                        <a:gd name="T29" fmla="*/ 158 h 203"/>
                        <a:gd name="T30" fmla="*/ 204 w 273"/>
                        <a:gd name="T31" fmla="*/ 127 h 203"/>
                        <a:gd name="T32" fmla="*/ 163 w 273"/>
                        <a:gd name="T33" fmla="*/ 169 h 203"/>
                        <a:gd name="T34" fmla="*/ 92 w 273"/>
                        <a:gd name="T35" fmla="*/ 126 h 203"/>
                        <a:gd name="T36" fmla="*/ 92 w 273"/>
                        <a:gd name="T37" fmla="*/ 87 h 203"/>
                        <a:gd name="T38" fmla="*/ 62 w 273"/>
                        <a:gd name="T39" fmla="*/ 102 h 203"/>
                        <a:gd name="T40" fmla="*/ 107 w 273"/>
                        <a:gd name="T41" fmla="*/ 169 h 203"/>
                        <a:gd name="T42" fmla="*/ 68 w 273"/>
                        <a:gd name="T43" fmla="*/ 128 h 203"/>
                        <a:gd name="T44" fmla="*/ 107 w 273"/>
                        <a:gd name="T45" fmla="*/ 169 h 203"/>
                        <a:gd name="T46" fmla="*/ 104 w 273"/>
                        <a:gd name="T47" fmla="*/ 138 h 203"/>
                        <a:gd name="T48" fmla="*/ 131 w 273"/>
                        <a:gd name="T49" fmla="*/ 140 h 203"/>
                        <a:gd name="T50" fmla="*/ 101 w 273"/>
                        <a:gd name="T51" fmla="*/ 89 h 203"/>
                        <a:gd name="T52" fmla="*/ 103 w 273"/>
                        <a:gd name="T53" fmla="*/ 127 h 203"/>
                        <a:gd name="T54" fmla="*/ 131 w 273"/>
                        <a:gd name="T55" fmla="*/ 90 h 203"/>
                        <a:gd name="T56" fmla="*/ 123 w 273"/>
                        <a:gd name="T57" fmla="*/ 32 h 203"/>
                        <a:gd name="T58" fmla="*/ 131 w 273"/>
                        <a:gd name="T59" fmla="*/ 80 h 203"/>
                        <a:gd name="T60" fmla="*/ 206 w 273"/>
                        <a:gd name="T61" fmla="*/ 80 h 203"/>
                        <a:gd name="T62" fmla="*/ 180 w 273"/>
                        <a:gd name="T63" fmla="*/ 103 h 203"/>
                        <a:gd name="T64" fmla="*/ 208 w 273"/>
                        <a:gd name="T65" fmla="*/ 112 h 203"/>
                        <a:gd name="T66" fmla="*/ 206 w 273"/>
                        <a:gd name="T67" fmla="*/ 80 h 203"/>
                        <a:gd name="T68" fmla="*/ 179 w 273"/>
                        <a:gd name="T69" fmla="*/ 78 h 203"/>
                        <a:gd name="T70" fmla="*/ 187 w 273"/>
                        <a:gd name="T71" fmla="*/ 51 h 203"/>
                        <a:gd name="T72" fmla="*/ 141 w 273"/>
                        <a:gd name="T73" fmla="*/ 80 h 203"/>
                        <a:gd name="T74" fmla="*/ 141 w 273"/>
                        <a:gd name="T75" fmla="*/ 30 h 203"/>
                        <a:gd name="T76" fmla="*/ 141 w 273"/>
                        <a:gd name="T77" fmla="*/ 80 h 203"/>
                        <a:gd name="T78" fmla="*/ 169 w 273"/>
                        <a:gd name="T79" fmla="*/ 127 h 203"/>
                        <a:gd name="T80" fmla="*/ 170 w 273"/>
                        <a:gd name="T81" fmla="*/ 89 h 203"/>
                        <a:gd name="T82" fmla="*/ 141 w 273"/>
                        <a:gd name="T83" fmla="*/ 130 h 203"/>
                        <a:gd name="T84" fmla="*/ 166 w 273"/>
                        <a:gd name="T85" fmla="*/ 138 h 203"/>
                        <a:gd name="T86" fmla="*/ 141 w 273"/>
                        <a:gd name="T87" fmla="*/ 175 h 203"/>
                        <a:gd name="T88" fmla="*/ 225 w 273"/>
                        <a:gd name="T89" fmla="*/ 179 h 203"/>
                        <a:gd name="T90" fmla="*/ 183 w 273"/>
                        <a:gd name="T91" fmla="*/ 155 h 203"/>
                        <a:gd name="T92" fmla="*/ 193 w 273"/>
                        <a:gd name="T93" fmla="*/ 191 h 203"/>
                        <a:gd name="T94" fmla="*/ 251 w 273"/>
                        <a:gd name="T95" fmla="*/ 188 h 2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273" h="203">
                          <a:moveTo>
                            <a:pt x="251" y="185"/>
                          </a:moveTo>
                          <a:cubicBezTo>
                            <a:pt x="261" y="164"/>
                            <a:pt x="232" y="117"/>
                            <a:pt x="232" y="117"/>
                          </a:cubicBezTo>
                          <a:cubicBezTo>
                            <a:pt x="232" y="117"/>
                            <a:pt x="273" y="141"/>
                            <a:pt x="273" y="174"/>
                          </a:cubicBezTo>
                          <a:cubicBezTo>
                            <a:pt x="268" y="177"/>
                            <a:pt x="259" y="181"/>
                            <a:pt x="251" y="185"/>
                          </a:cubicBezTo>
                          <a:close/>
                          <a:moveTo>
                            <a:pt x="48" y="24"/>
                          </a:moveTo>
                          <a:cubicBezTo>
                            <a:pt x="32" y="30"/>
                            <a:pt x="32" y="30"/>
                            <a:pt x="32" y="30"/>
                          </a:cubicBezTo>
                          <a:cubicBezTo>
                            <a:pt x="92" y="48"/>
                            <a:pt x="92" y="48"/>
                            <a:pt x="92" y="48"/>
                          </a:cubicBezTo>
                          <a:cubicBezTo>
                            <a:pt x="99" y="7"/>
                            <a:pt x="99" y="7"/>
                            <a:pt x="99" y="7"/>
                          </a:cubicBezTo>
                          <a:cubicBezTo>
                            <a:pt x="82" y="13"/>
                            <a:pt x="82" y="13"/>
                            <a:pt x="82" y="13"/>
                          </a:cubicBezTo>
                          <a:cubicBezTo>
                            <a:pt x="78" y="8"/>
                            <a:pt x="66" y="0"/>
                            <a:pt x="56" y="1"/>
                          </a:cubicBezTo>
                          <a:cubicBezTo>
                            <a:pt x="51" y="3"/>
                            <a:pt x="31" y="11"/>
                            <a:pt x="23" y="15"/>
                          </a:cubicBezTo>
                          <a:cubicBezTo>
                            <a:pt x="32" y="13"/>
                            <a:pt x="44" y="21"/>
                            <a:pt x="48" y="24"/>
                          </a:cubicBezTo>
                          <a:close/>
                          <a:moveTo>
                            <a:pt x="23" y="20"/>
                          </a:moveTo>
                          <a:cubicBezTo>
                            <a:pt x="16" y="22"/>
                            <a:pt x="6" y="27"/>
                            <a:pt x="0" y="31"/>
                          </a:cubicBezTo>
                          <a:cubicBezTo>
                            <a:pt x="0" y="62"/>
                            <a:pt x="42" y="86"/>
                            <a:pt x="42" y="86"/>
                          </a:cubicBezTo>
                          <a:cubicBezTo>
                            <a:pt x="42" y="86"/>
                            <a:pt x="14" y="39"/>
                            <a:pt x="23" y="20"/>
                          </a:cubicBezTo>
                          <a:close/>
                          <a:moveTo>
                            <a:pt x="176" y="162"/>
                          </a:moveTo>
                          <a:cubicBezTo>
                            <a:pt x="172" y="185"/>
                            <a:pt x="172" y="185"/>
                            <a:pt x="172" y="185"/>
                          </a:cubicBezTo>
                          <a:cubicBezTo>
                            <a:pt x="161" y="189"/>
                            <a:pt x="148" y="192"/>
                            <a:pt x="135" y="192"/>
                          </a:cubicBezTo>
                          <a:cubicBezTo>
                            <a:pt x="85" y="192"/>
                            <a:pt x="45" y="152"/>
                            <a:pt x="45" y="102"/>
                          </a:cubicBezTo>
                          <a:cubicBezTo>
                            <a:pt x="45" y="80"/>
                            <a:pt x="54" y="61"/>
                            <a:pt x="66" y="45"/>
                          </a:cubicBezTo>
                          <a:cubicBezTo>
                            <a:pt x="83" y="51"/>
                            <a:pt x="83" y="51"/>
                            <a:pt x="83" y="51"/>
                          </a:cubicBezTo>
                          <a:cubicBezTo>
                            <a:pt x="78" y="56"/>
                            <a:pt x="73" y="63"/>
                            <a:pt x="69" y="71"/>
                          </a:cubicBezTo>
                          <a:cubicBezTo>
                            <a:pt x="72" y="73"/>
                            <a:pt x="78" y="75"/>
                            <a:pt x="93" y="78"/>
                          </a:cubicBezTo>
                          <a:cubicBezTo>
                            <a:pt x="96" y="59"/>
                            <a:pt x="100" y="45"/>
                            <a:pt x="109" y="34"/>
                          </a:cubicBezTo>
                          <a:cubicBezTo>
                            <a:pt x="106" y="35"/>
                            <a:pt x="101" y="37"/>
                            <a:pt x="99" y="39"/>
                          </a:cubicBezTo>
                          <a:cubicBezTo>
                            <a:pt x="101" y="18"/>
                            <a:pt x="101" y="18"/>
                            <a:pt x="101" y="18"/>
                          </a:cubicBezTo>
                          <a:cubicBezTo>
                            <a:pt x="113" y="14"/>
                            <a:pt x="124" y="11"/>
                            <a:pt x="135" y="11"/>
                          </a:cubicBezTo>
                          <a:cubicBezTo>
                            <a:pt x="186" y="11"/>
                            <a:pt x="225" y="52"/>
                            <a:pt x="225" y="102"/>
                          </a:cubicBezTo>
                          <a:cubicBezTo>
                            <a:pt x="225" y="123"/>
                            <a:pt x="218" y="143"/>
                            <a:pt x="206" y="158"/>
                          </a:cubicBezTo>
                          <a:cubicBezTo>
                            <a:pt x="189" y="152"/>
                            <a:pt x="189" y="152"/>
                            <a:pt x="189" y="152"/>
                          </a:cubicBezTo>
                          <a:cubicBezTo>
                            <a:pt x="196" y="145"/>
                            <a:pt x="200" y="137"/>
                            <a:pt x="204" y="127"/>
                          </a:cubicBezTo>
                          <a:cubicBezTo>
                            <a:pt x="199" y="131"/>
                            <a:pt x="187" y="134"/>
                            <a:pt x="178" y="136"/>
                          </a:cubicBezTo>
                          <a:cubicBezTo>
                            <a:pt x="175" y="150"/>
                            <a:pt x="170" y="161"/>
                            <a:pt x="163" y="169"/>
                          </a:cubicBezTo>
                          <a:cubicBezTo>
                            <a:pt x="168" y="168"/>
                            <a:pt x="172" y="165"/>
                            <a:pt x="176" y="162"/>
                          </a:cubicBezTo>
                          <a:close/>
                          <a:moveTo>
                            <a:pt x="92" y="126"/>
                          </a:moveTo>
                          <a:cubicBezTo>
                            <a:pt x="92" y="119"/>
                            <a:pt x="90" y="110"/>
                            <a:pt x="90" y="103"/>
                          </a:cubicBezTo>
                          <a:cubicBezTo>
                            <a:pt x="90" y="97"/>
                            <a:pt x="90" y="93"/>
                            <a:pt x="92" y="87"/>
                          </a:cubicBezTo>
                          <a:cubicBezTo>
                            <a:pt x="80" y="86"/>
                            <a:pt x="71" y="83"/>
                            <a:pt x="65" y="80"/>
                          </a:cubicBezTo>
                          <a:cubicBezTo>
                            <a:pt x="63" y="87"/>
                            <a:pt x="62" y="95"/>
                            <a:pt x="62" y="102"/>
                          </a:cubicBezTo>
                          <a:cubicBezTo>
                            <a:pt x="62" y="114"/>
                            <a:pt x="63" y="120"/>
                            <a:pt x="92" y="126"/>
                          </a:cubicBezTo>
                          <a:close/>
                          <a:moveTo>
                            <a:pt x="107" y="169"/>
                          </a:moveTo>
                          <a:cubicBezTo>
                            <a:pt x="101" y="161"/>
                            <a:pt x="97" y="150"/>
                            <a:pt x="94" y="137"/>
                          </a:cubicBezTo>
                          <a:cubicBezTo>
                            <a:pt x="83" y="134"/>
                            <a:pt x="75" y="131"/>
                            <a:pt x="68" y="128"/>
                          </a:cubicBezTo>
                          <a:cubicBezTo>
                            <a:pt x="71" y="138"/>
                            <a:pt x="76" y="147"/>
                            <a:pt x="83" y="154"/>
                          </a:cubicBezTo>
                          <a:cubicBezTo>
                            <a:pt x="90" y="161"/>
                            <a:pt x="99" y="167"/>
                            <a:pt x="107" y="169"/>
                          </a:cubicBezTo>
                          <a:close/>
                          <a:moveTo>
                            <a:pt x="131" y="140"/>
                          </a:moveTo>
                          <a:cubicBezTo>
                            <a:pt x="121" y="140"/>
                            <a:pt x="113" y="138"/>
                            <a:pt x="104" y="138"/>
                          </a:cubicBezTo>
                          <a:cubicBezTo>
                            <a:pt x="109" y="151"/>
                            <a:pt x="116" y="175"/>
                            <a:pt x="131" y="175"/>
                          </a:cubicBezTo>
                          <a:cubicBezTo>
                            <a:pt x="131" y="175"/>
                            <a:pt x="131" y="175"/>
                            <a:pt x="131" y="140"/>
                          </a:cubicBezTo>
                          <a:close/>
                          <a:moveTo>
                            <a:pt x="131" y="90"/>
                          </a:moveTo>
                          <a:cubicBezTo>
                            <a:pt x="120" y="90"/>
                            <a:pt x="110" y="89"/>
                            <a:pt x="101" y="89"/>
                          </a:cubicBezTo>
                          <a:cubicBezTo>
                            <a:pt x="100" y="93"/>
                            <a:pt x="100" y="97"/>
                            <a:pt x="100" y="103"/>
                          </a:cubicBezTo>
                          <a:cubicBezTo>
                            <a:pt x="100" y="112"/>
                            <a:pt x="101" y="120"/>
                            <a:pt x="103" y="127"/>
                          </a:cubicBezTo>
                          <a:cubicBezTo>
                            <a:pt x="111" y="128"/>
                            <a:pt x="121" y="130"/>
                            <a:pt x="131" y="130"/>
                          </a:cubicBezTo>
                          <a:cubicBezTo>
                            <a:pt x="131" y="130"/>
                            <a:pt x="131" y="130"/>
                            <a:pt x="131" y="90"/>
                          </a:cubicBezTo>
                          <a:close/>
                          <a:moveTo>
                            <a:pt x="131" y="30"/>
                          </a:moveTo>
                          <a:cubicBezTo>
                            <a:pt x="128" y="30"/>
                            <a:pt x="125" y="31"/>
                            <a:pt x="123" y="32"/>
                          </a:cubicBezTo>
                          <a:cubicBezTo>
                            <a:pt x="114" y="41"/>
                            <a:pt x="106" y="59"/>
                            <a:pt x="101" y="79"/>
                          </a:cubicBezTo>
                          <a:cubicBezTo>
                            <a:pt x="111" y="80"/>
                            <a:pt x="121" y="80"/>
                            <a:pt x="131" y="80"/>
                          </a:cubicBezTo>
                          <a:cubicBezTo>
                            <a:pt x="131" y="80"/>
                            <a:pt x="131" y="80"/>
                            <a:pt x="131" y="30"/>
                          </a:cubicBezTo>
                          <a:close/>
                          <a:moveTo>
                            <a:pt x="206" y="80"/>
                          </a:moveTo>
                          <a:cubicBezTo>
                            <a:pt x="200" y="83"/>
                            <a:pt x="193" y="85"/>
                            <a:pt x="180" y="87"/>
                          </a:cubicBezTo>
                          <a:cubicBezTo>
                            <a:pt x="180" y="93"/>
                            <a:pt x="180" y="97"/>
                            <a:pt x="180" y="103"/>
                          </a:cubicBezTo>
                          <a:cubicBezTo>
                            <a:pt x="180" y="110"/>
                            <a:pt x="180" y="119"/>
                            <a:pt x="179" y="126"/>
                          </a:cubicBezTo>
                          <a:cubicBezTo>
                            <a:pt x="196" y="121"/>
                            <a:pt x="204" y="116"/>
                            <a:pt x="208" y="112"/>
                          </a:cubicBezTo>
                          <a:cubicBezTo>
                            <a:pt x="208" y="109"/>
                            <a:pt x="208" y="106"/>
                            <a:pt x="208" y="102"/>
                          </a:cubicBezTo>
                          <a:cubicBezTo>
                            <a:pt x="208" y="95"/>
                            <a:pt x="207" y="87"/>
                            <a:pt x="206" y="80"/>
                          </a:cubicBezTo>
                          <a:close/>
                          <a:moveTo>
                            <a:pt x="162" y="34"/>
                          </a:moveTo>
                          <a:cubicBezTo>
                            <a:pt x="170" y="45"/>
                            <a:pt x="176" y="59"/>
                            <a:pt x="179" y="78"/>
                          </a:cubicBezTo>
                          <a:cubicBezTo>
                            <a:pt x="194" y="73"/>
                            <a:pt x="199" y="73"/>
                            <a:pt x="201" y="71"/>
                          </a:cubicBezTo>
                          <a:cubicBezTo>
                            <a:pt x="199" y="63"/>
                            <a:pt x="193" y="56"/>
                            <a:pt x="187" y="51"/>
                          </a:cubicBezTo>
                          <a:cubicBezTo>
                            <a:pt x="180" y="42"/>
                            <a:pt x="172" y="38"/>
                            <a:pt x="162" y="34"/>
                          </a:cubicBezTo>
                          <a:close/>
                          <a:moveTo>
                            <a:pt x="141" y="80"/>
                          </a:moveTo>
                          <a:cubicBezTo>
                            <a:pt x="151" y="80"/>
                            <a:pt x="159" y="80"/>
                            <a:pt x="169" y="79"/>
                          </a:cubicBezTo>
                          <a:cubicBezTo>
                            <a:pt x="165" y="54"/>
                            <a:pt x="154" y="34"/>
                            <a:pt x="141" y="30"/>
                          </a:cubicBezTo>
                          <a:cubicBezTo>
                            <a:pt x="141" y="30"/>
                            <a:pt x="141" y="30"/>
                            <a:pt x="141" y="30"/>
                          </a:cubicBezTo>
                          <a:cubicBezTo>
                            <a:pt x="141" y="30"/>
                            <a:pt x="141" y="30"/>
                            <a:pt x="141" y="80"/>
                          </a:cubicBezTo>
                          <a:close/>
                          <a:moveTo>
                            <a:pt x="141" y="130"/>
                          </a:moveTo>
                          <a:cubicBezTo>
                            <a:pt x="151" y="130"/>
                            <a:pt x="159" y="128"/>
                            <a:pt x="169" y="127"/>
                          </a:cubicBezTo>
                          <a:cubicBezTo>
                            <a:pt x="170" y="120"/>
                            <a:pt x="170" y="112"/>
                            <a:pt x="170" y="103"/>
                          </a:cubicBezTo>
                          <a:cubicBezTo>
                            <a:pt x="170" y="97"/>
                            <a:pt x="170" y="93"/>
                            <a:pt x="170" y="89"/>
                          </a:cubicBezTo>
                          <a:cubicBezTo>
                            <a:pt x="161" y="89"/>
                            <a:pt x="151" y="90"/>
                            <a:pt x="141" y="90"/>
                          </a:cubicBezTo>
                          <a:cubicBezTo>
                            <a:pt x="141" y="90"/>
                            <a:pt x="141" y="90"/>
                            <a:pt x="141" y="130"/>
                          </a:cubicBezTo>
                          <a:close/>
                          <a:moveTo>
                            <a:pt x="159" y="157"/>
                          </a:moveTo>
                          <a:cubicBezTo>
                            <a:pt x="162" y="151"/>
                            <a:pt x="165" y="145"/>
                            <a:pt x="166" y="138"/>
                          </a:cubicBezTo>
                          <a:cubicBezTo>
                            <a:pt x="158" y="138"/>
                            <a:pt x="149" y="140"/>
                            <a:pt x="141" y="140"/>
                          </a:cubicBezTo>
                          <a:cubicBezTo>
                            <a:pt x="141" y="140"/>
                            <a:pt x="141" y="140"/>
                            <a:pt x="141" y="175"/>
                          </a:cubicBezTo>
                          <a:cubicBezTo>
                            <a:pt x="148" y="175"/>
                            <a:pt x="155" y="168"/>
                            <a:pt x="159" y="157"/>
                          </a:cubicBezTo>
                          <a:close/>
                          <a:moveTo>
                            <a:pt x="225" y="179"/>
                          </a:moveTo>
                          <a:cubicBezTo>
                            <a:pt x="241" y="174"/>
                            <a:pt x="241" y="174"/>
                            <a:pt x="241" y="174"/>
                          </a:cubicBezTo>
                          <a:cubicBezTo>
                            <a:pt x="183" y="155"/>
                            <a:pt x="183" y="155"/>
                            <a:pt x="183" y="155"/>
                          </a:cubicBezTo>
                          <a:cubicBezTo>
                            <a:pt x="175" y="196"/>
                            <a:pt x="175" y="196"/>
                            <a:pt x="175" y="196"/>
                          </a:cubicBezTo>
                          <a:cubicBezTo>
                            <a:pt x="193" y="191"/>
                            <a:pt x="193" y="191"/>
                            <a:pt x="193" y="191"/>
                          </a:cubicBezTo>
                          <a:cubicBezTo>
                            <a:pt x="197" y="195"/>
                            <a:pt x="208" y="203"/>
                            <a:pt x="218" y="202"/>
                          </a:cubicBezTo>
                          <a:cubicBezTo>
                            <a:pt x="224" y="201"/>
                            <a:pt x="242" y="192"/>
                            <a:pt x="251" y="188"/>
                          </a:cubicBezTo>
                          <a:cubicBezTo>
                            <a:pt x="242" y="191"/>
                            <a:pt x="231" y="182"/>
                            <a:pt x="225" y="179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47" name="Group 646"/>
                    <p:cNvGrpSpPr/>
                    <p:nvPr/>
                  </p:nvGrpSpPr>
                  <p:grpSpPr>
                    <a:xfrm rot="16200000">
                      <a:off x="11538952" y="548917"/>
                      <a:ext cx="197697" cy="120792"/>
                      <a:chOff x="11543479" y="566091"/>
                      <a:chExt cx="197697" cy="120792"/>
                    </a:xfrm>
                  </p:grpSpPr>
                  <p:sp>
                    <p:nvSpPr>
                      <p:cNvPr id="702" name="Freeform 206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616132" y="493438"/>
                        <a:ext cx="52392" cy="197697"/>
                      </a:xfrm>
                      <a:custGeom>
                        <a:avLst/>
                        <a:gdLst>
                          <a:gd name="T0" fmla="*/ 40 w 48"/>
                          <a:gd name="T1" fmla="*/ 0 h 174"/>
                          <a:gd name="T2" fmla="*/ 7 w 48"/>
                          <a:gd name="T3" fmla="*/ 0 h 174"/>
                          <a:gd name="T4" fmla="*/ 0 w 48"/>
                          <a:gd name="T5" fmla="*/ 8 h 174"/>
                          <a:gd name="T6" fmla="*/ 0 w 48"/>
                          <a:gd name="T7" fmla="*/ 166 h 174"/>
                          <a:gd name="T8" fmla="*/ 7 w 48"/>
                          <a:gd name="T9" fmla="*/ 174 h 174"/>
                          <a:gd name="T10" fmla="*/ 40 w 48"/>
                          <a:gd name="T11" fmla="*/ 174 h 174"/>
                          <a:gd name="T12" fmla="*/ 48 w 48"/>
                          <a:gd name="T13" fmla="*/ 166 h 174"/>
                          <a:gd name="T14" fmla="*/ 48 w 48"/>
                          <a:gd name="T15" fmla="*/ 8 h 174"/>
                          <a:gd name="T16" fmla="*/ 40 w 48"/>
                          <a:gd name="T17" fmla="*/ 0 h 174"/>
                          <a:gd name="T18" fmla="*/ 11 w 48"/>
                          <a:gd name="T19" fmla="*/ 16 h 174"/>
                          <a:gd name="T20" fmla="*/ 15 w 48"/>
                          <a:gd name="T21" fmla="*/ 11 h 174"/>
                          <a:gd name="T22" fmla="*/ 32 w 48"/>
                          <a:gd name="T23" fmla="*/ 11 h 174"/>
                          <a:gd name="T24" fmla="*/ 36 w 48"/>
                          <a:gd name="T25" fmla="*/ 16 h 174"/>
                          <a:gd name="T26" fmla="*/ 36 w 48"/>
                          <a:gd name="T27" fmla="*/ 117 h 174"/>
                          <a:gd name="T28" fmla="*/ 32 w 48"/>
                          <a:gd name="T29" fmla="*/ 121 h 174"/>
                          <a:gd name="T30" fmla="*/ 15 w 48"/>
                          <a:gd name="T31" fmla="*/ 121 h 174"/>
                          <a:gd name="T32" fmla="*/ 11 w 48"/>
                          <a:gd name="T33" fmla="*/ 117 h 174"/>
                          <a:gd name="T34" fmla="*/ 11 w 48"/>
                          <a:gd name="T35" fmla="*/ 16 h 174"/>
                          <a:gd name="T36" fmla="*/ 11 w 48"/>
                          <a:gd name="T37" fmla="*/ 16 h 174"/>
                          <a:gd name="T38" fmla="*/ 23 w 48"/>
                          <a:gd name="T39" fmla="*/ 164 h 174"/>
                          <a:gd name="T40" fmla="*/ 11 w 48"/>
                          <a:gd name="T41" fmla="*/ 151 h 174"/>
                          <a:gd name="T42" fmla="*/ 23 w 48"/>
                          <a:gd name="T43" fmla="*/ 138 h 174"/>
                          <a:gd name="T44" fmla="*/ 36 w 48"/>
                          <a:gd name="T45" fmla="*/ 151 h 174"/>
                          <a:gd name="T46" fmla="*/ 23 w 48"/>
                          <a:gd name="T47" fmla="*/ 164 h 17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48" h="174">
                            <a:moveTo>
                              <a:pt x="40" y="0"/>
                            </a:moveTo>
                            <a:cubicBezTo>
                              <a:pt x="7" y="0"/>
                              <a:pt x="7" y="0"/>
                              <a:pt x="7" y="0"/>
                            </a:cubicBezTo>
                            <a:cubicBezTo>
                              <a:pt x="3" y="0"/>
                              <a:pt x="0" y="3"/>
                              <a:pt x="0" y="8"/>
                            </a:cubicBezTo>
                            <a:cubicBezTo>
                              <a:pt x="0" y="166"/>
                              <a:pt x="0" y="166"/>
                              <a:pt x="0" y="166"/>
                            </a:cubicBezTo>
                            <a:cubicBezTo>
                              <a:pt x="0" y="170"/>
                              <a:pt x="3" y="174"/>
                              <a:pt x="7" y="174"/>
                            </a:cubicBezTo>
                            <a:cubicBezTo>
                              <a:pt x="40" y="174"/>
                              <a:pt x="40" y="174"/>
                              <a:pt x="40" y="174"/>
                            </a:cubicBezTo>
                            <a:cubicBezTo>
                              <a:pt x="44" y="174"/>
                              <a:pt x="48" y="170"/>
                              <a:pt x="48" y="166"/>
                            </a:cubicBezTo>
                            <a:cubicBezTo>
                              <a:pt x="48" y="8"/>
                              <a:pt x="48" y="8"/>
                              <a:pt x="48" y="8"/>
                            </a:cubicBezTo>
                            <a:cubicBezTo>
                              <a:pt x="48" y="3"/>
                              <a:pt x="44" y="0"/>
                              <a:pt x="40" y="0"/>
                            </a:cubicBezTo>
                            <a:close/>
                            <a:moveTo>
                              <a:pt x="11" y="16"/>
                            </a:moveTo>
                            <a:cubicBezTo>
                              <a:pt x="11" y="13"/>
                              <a:pt x="13" y="11"/>
                              <a:pt x="15" y="11"/>
                            </a:cubicBezTo>
                            <a:cubicBezTo>
                              <a:pt x="32" y="11"/>
                              <a:pt x="32" y="11"/>
                              <a:pt x="32" y="11"/>
                            </a:cubicBezTo>
                            <a:cubicBezTo>
                              <a:pt x="34" y="11"/>
                              <a:pt x="36" y="13"/>
                              <a:pt x="36" y="16"/>
                            </a:cubicBezTo>
                            <a:cubicBezTo>
                              <a:pt x="36" y="117"/>
                              <a:pt x="36" y="117"/>
                              <a:pt x="36" y="117"/>
                            </a:cubicBezTo>
                            <a:cubicBezTo>
                              <a:pt x="36" y="119"/>
                              <a:pt x="34" y="121"/>
                              <a:pt x="32" y="121"/>
                            </a:cubicBezTo>
                            <a:cubicBezTo>
                              <a:pt x="15" y="121"/>
                              <a:pt x="15" y="121"/>
                              <a:pt x="15" y="121"/>
                            </a:cubicBezTo>
                            <a:cubicBezTo>
                              <a:pt x="13" y="121"/>
                              <a:pt x="11" y="119"/>
                              <a:pt x="11" y="117"/>
                            </a:cubicBezTo>
                            <a:cubicBezTo>
                              <a:pt x="11" y="16"/>
                              <a:pt x="11" y="16"/>
                              <a:pt x="11" y="16"/>
                            </a:cubicBezTo>
                            <a:cubicBezTo>
                              <a:pt x="11" y="16"/>
                              <a:pt x="11" y="16"/>
                              <a:pt x="11" y="16"/>
                            </a:cubicBezTo>
                            <a:close/>
                            <a:moveTo>
                              <a:pt x="23" y="164"/>
                            </a:moveTo>
                            <a:cubicBezTo>
                              <a:pt x="17" y="164"/>
                              <a:pt x="11" y="158"/>
                              <a:pt x="11" y="151"/>
                            </a:cubicBezTo>
                            <a:cubicBezTo>
                              <a:pt x="11" y="144"/>
                              <a:pt x="17" y="138"/>
                              <a:pt x="23" y="138"/>
                            </a:cubicBezTo>
                            <a:cubicBezTo>
                              <a:pt x="30" y="138"/>
                              <a:pt x="36" y="144"/>
                              <a:pt x="36" y="151"/>
                            </a:cubicBezTo>
                            <a:cubicBezTo>
                              <a:pt x="36" y="158"/>
                              <a:pt x="30" y="164"/>
                              <a:pt x="23" y="164"/>
                            </a:cubicBezTo>
                            <a:close/>
                          </a:path>
                        </a:pathLst>
                      </a:custGeom>
                      <a:solidFill>
                        <a:srgbClr val="21BBEE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3" name="Oval 207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1562613" y="583986"/>
                        <a:ext cx="14553" cy="16600"/>
                      </a:xfrm>
                      <a:prstGeom prst="ellipse">
                        <a:avLst/>
                      </a:prstGeom>
                      <a:solidFill>
                        <a:srgbClr val="21BBEE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4" name="Freeform 208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616132" y="561838"/>
                        <a:ext cx="52392" cy="197697"/>
                      </a:xfrm>
                      <a:custGeom>
                        <a:avLst/>
                        <a:gdLst>
                          <a:gd name="T0" fmla="*/ 41 w 48"/>
                          <a:gd name="T1" fmla="*/ 0 h 174"/>
                          <a:gd name="T2" fmla="*/ 8 w 48"/>
                          <a:gd name="T3" fmla="*/ 0 h 174"/>
                          <a:gd name="T4" fmla="*/ 0 w 48"/>
                          <a:gd name="T5" fmla="*/ 8 h 174"/>
                          <a:gd name="T6" fmla="*/ 0 w 48"/>
                          <a:gd name="T7" fmla="*/ 166 h 174"/>
                          <a:gd name="T8" fmla="*/ 8 w 48"/>
                          <a:gd name="T9" fmla="*/ 174 h 174"/>
                          <a:gd name="T10" fmla="*/ 41 w 48"/>
                          <a:gd name="T11" fmla="*/ 174 h 174"/>
                          <a:gd name="T12" fmla="*/ 48 w 48"/>
                          <a:gd name="T13" fmla="*/ 166 h 174"/>
                          <a:gd name="T14" fmla="*/ 48 w 48"/>
                          <a:gd name="T15" fmla="*/ 8 h 174"/>
                          <a:gd name="T16" fmla="*/ 41 w 48"/>
                          <a:gd name="T17" fmla="*/ 0 h 174"/>
                          <a:gd name="T18" fmla="*/ 12 w 48"/>
                          <a:gd name="T19" fmla="*/ 16 h 174"/>
                          <a:gd name="T20" fmla="*/ 16 w 48"/>
                          <a:gd name="T21" fmla="*/ 11 h 174"/>
                          <a:gd name="T22" fmla="*/ 33 w 48"/>
                          <a:gd name="T23" fmla="*/ 11 h 174"/>
                          <a:gd name="T24" fmla="*/ 37 w 48"/>
                          <a:gd name="T25" fmla="*/ 16 h 174"/>
                          <a:gd name="T26" fmla="*/ 37 w 48"/>
                          <a:gd name="T27" fmla="*/ 117 h 174"/>
                          <a:gd name="T28" fmla="*/ 33 w 48"/>
                          <a:gd name="T29" fmla="*/ 121 h 174"/>
                          <a:gd name="T30" fmla="*/ 16 w 48"/>
                          <a:gd name="T31" fmla="*/ 121 h 174"/>
                          <a:gd name="T32" fmla="*/ 12 w 48"/>
                          <a:gd name="T33" fmla="*/ 117 h 174"/>
                          <a:gd name="T34" fmla="*/ 12 w 48"/>
                          <a:gd name="T35" fmla="*/ 16 h 174"/>
                          <a:gd name="T36" fmla="*/ 12 w 48"/>
                          <a:gd name="T37" fmla="*/ 16 h 174"/>
                          <a:gd name="T38" fmla="*/ 24 w 48"/>
                          <a:gd name="T39" fmla="*/ 164 h 174"/>
                          <a:gd name="T40" fmla="*/ 12 w 48"/>
                          <a:gd name="T41" fmla="*/ 151 h 174"/>
                          <a:gd name="T42" fmla="*/ 24 w 48"/>
                          <a:gd name="T43" fmla="*/ 138 h 174"/>
                          <a:gd name="T44" fmla="*/ 37 w 48"/>
                          <a:gd name="T45" fmla="*/ 151 h 174"/>
                          <a:gd name="T46" fmla="*/ 24 w 48"/>
                          <a:gd name="T47" fmla="*/ 164 h 17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48" h="174">
                            <a:moveTo>
                              <a:pt x="41" y="0"/>
                            </a:moveTo>
                            <a:cubicBezTo>
                              <a:pt x="8" y="0"/>
                              <a:pt x="8" y="0"/>
                              <a:pt x="8" y="0"/>
                            </a:cubicBezTo>
                            <a:cubicBezTo>
                              <a:pt x="4" y="0"/>
                              <a:pt x="0" y="3"/>
                              <a:pt x="0" y="8"/>
                            </a:cubicBezTo>
                            <a:cubicBezTo>
                              <a:pt x="0" y="166"/>
                              <a:pt x="0" y="166"/>
                              <a:pt x="0" y="166"/>
                            </a:cubicBezTo>
                            <a:cubicBezTo>
                              <a:pt x="0" y="170"/>
                              <a:pt x="4" y="174"/>
                              <a:pt x="8" y="174"/>
                            </a:cubicBezTo>
                            <a:cubicBezTo>
                              <a:pt x="41" y="174"/>
                              <a:pt x="41" y="174"/>
                              <a:pt x="41" y="174"/>
                            </a:cubicBezTo>
                            <a:cubicBezTo>
                              <a:pt x="45" y="174"/>
                              <a:pt x="48" y="170"/>
                              <a:pt x="48" y="166"/>
                            </a:cubicBezTo>
                            <a:cubicBezTo>
                              <a:pt x="48" y="8"/>
                              <a:pt x="48" y="8"/>
                              <a:pt x="48" y="8"/>
                            </a:cubicBezTo>
                            <a:cubicBezTo>
                              <a:pt x="48" y="3"/>
                              <a:pt x="45" y="0"/>
                              <a:pt x="41" y="0"/>
                            </a:cubicBezTo>
                            <a:close/>
                            <a:moveTo>
                              <a:pt x="12" y="16"/>
                            </a:moveTo>
                            <a:cubicBezTo>
                              <a:pt x="12" y="13"/>
                              <a:pt x="14" y="11"/>
                              <a:pt x="16" y="11"/>
                            </a:cubicBezTo>
                            <a:cubicBezTo>
                              <a:pt x="33" y="11"/>
                              <a:pt x="33" y="11"/>
                              <a:pt x="33" y="11"/>
                            </a:cubicBezTo>
                            <a:cubicBezTo>
                              <a:pt x="35" y="11"/>
                              <a:pt x="37" y="13"/>
                              <a:pt x="37" y="16"/>
                            </a:cubicBezTo>
                            <a:cubicBezTo>
                              <a:pt x="37" y="117"/>
                              <a:pt x="37" y="117"/>
                              <a:pt x="37" y="117"/>
                            </a:cubicBezTo>
                            <a:cubicBezTo>
                              <a:pt x="37" y="119"/>
                              <a:pt x="35" y="121"/>
                              <a:pt x="33" y="121"/>
                            </a:cubicBezTo>
                            <a:cubicBezTo>
                              <a:pt x="16" y="121"/>
                              <a:pt x="16" y="121"/>
                              <a:pt x="16" y="121"/>
                            </a:cubicBezTo>
                            <a:cubicBezTo>
                              <a:pt x="14" y="121"/>
                              <a:pt x="12" y="119"/>
                              <a:pt x="12" y="117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lose/>
                            <a:moveTo>
                              <a:pt x="24" y="164"/>
                            </a:moveTo>
                            <a:cubicBezTo>
                              <a:pt x="17" y="164"/>
                              <a:pt x="12" y="158"/>
                              <a:pt x="12" y="151"/>
                            </a:cubicBezTo>
                            <a:cubicBezTo>
                              <a:pt x="12" y="144"/>
                              <a:pt x="17" y="138"/>
                              <a:pt x="24" y="138"/>
                            </a:cubicBezTo>
                            <a:cubicBezTo>
                              <a:pt x="31" y="138"/>
                              <a:pt x="37" y="144"/>
                              <a:pt x="37" y="151"/>
                            </a:cubicBezTo>
                            <a:cubicBezTo>
                              <a:pt x="37" y="158"/>
                              <a:pt x="31" y="164"/>
                              <a:pt x="24" y="164"/>
                            </a:cubicBezTo>
                            <a:close/>
                          </a:path>
                        </a:pathLst>
                      </a:cu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5" name="Oval 209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1563340" y="653114"/>
                        <a:ext cx="13098" cy="16600"/>
                      </a:xfrm>
                      <a:prstGeom prst="ellipse">
                        <a:avLst/>
                      </a:pr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48" name="Freeform 210"/>
                    <p:cNvSpPr>
                      <a:spLocks/>
                    </p:cNvSpPr>
                    <p:nvPr/>
                  </p:nvSpPr>
                  <p:spPr bwMode="auto">
                    <a:xfrm>
                      <a:off x="10269655" y="1884130"/>
                      <a:ext cx="174640" cy="98093"/>
                    </a:xfrm>
                    <a:custGeom>
                      <a:avLst/>
                      <a:gdLst>
                        <a:gd name="T0" fmla="*/ 117 w 159"/>
                        <a:gd name="T1" fmla="*/ 86 h 86"/>
                        <a:gd name="T2" fmla="*/ 159 w 159"/>
                        <a:gd name="T3" fmla="*/ 43 h 86"/>
                        <a:gd name="T4" fmla="*/ 117 w 159"/>
                        <a:gd name="T5" fmla="*/ 0 h 86"/>
                        <a:gd name="T6" fmla="*/ 80 w 159"/>
                        <a:gd name="T7" fmla="*/ 21 h 86"/>
                        <a:gd name="T8" fmla="*/ 66 w 159"/>
                        <a:gd name="T9" fmla="*/ 18 h 86"/>
                        <a:gd name="T10" fmla="*/ 35 w 159"/>
                        <a:gd name="T11" fmla="*/ 36 h 86"/>
                        <a:gd name="T12" fmla="*/ 26 w 159"/>
                        <a:gd name="T13" fmla="*/ 34 h 86"/>
                        <a:gd name="T14" fmla="*/ 0 w 159"/>
                        <a:gd name="T15" fmla="*/ 60 h 86"/>
                        <a:gd name="T16" fmla="*/ 26 w 159"/>
                        <a:gd name="T17" fmla="*/ 86 h 86"/>
                        <a:gd name="T18" fmla="*/ 117 w 159"/>
                        <a:gd name="T19" fmla="*/ 86 h 86"/>
                        <a:gd name="T20" fmla="*/ 117 w 159"/>
                        <a:gd name="T21" fmla="*/ 86 h 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59" h="86">
                          <a:moveTo>
                            <a:pt x="117" y="86"/>
                          </a:moveTo>
                          <a:cubicBezTo>
                            <a:pt x="140" y="86"/>
                            <a:pt x="159" y="66"/>
                            <a:pt x="159" y="43"/>
                          </a:cubicBezTo>
                          <a:cubicBezTo>
                            <a:pt x="159" y="20"/>
                            <a:pt x="140" y="0"/>
                            <a:pt x="117" y="0"/>
                          </a:cubicBezTo>
                          <a:cubicBezTo>
                            <a:pt x="101" y="0"/>
                            <a:pt x="88" y="9"/>
                            <a:pt x="80" y="21"/>
                          </a:cubicBezTo>
                          <a:cubicBezTo>
                            <a:pt x="76" y="19"/>
                            <a:pt x="71" y="18"/>
                            <a:pt x="66" y="18"/>
                          </a:cubicBezTo>
                          <a:cubicBezTo>
                            <a:pt x="52" y="18"/>
                            <a:pt x="41" y="25"/>
                            <a:pt x="35" y="36"/>
                          </a:cubicBezTo>
                          <a:cubicBezTo>
                            <a:pt x="32" y="35"/>
                            <a:pt x="29" y="34"/>
                            <a:pt x="26" y="34"/>
                          </a:cubicBezTo>
                          <a:cubicBezTo>
                            <a:pt x="12" y="34"/>
                            <a:pt x="0" y="46"/>
                            <a:pt x="0" y="60"/>
                          </a:cubicBezTo>
                          <a:cubicBezTo>
                            <a:pt x="0" y="74"/>
                            <a:pt x="12" y="86"/>
                            <a:pt x="26" y="86"/>
                          </a:cubicBezTo>
                          <a:cubicBezTo>
                            <a:pt x="117" y="86"/>
                            <a:pt x="117" y="86"/>
                            <a:pt x="117" y="86"/>
                          </a:cubicBezTo>
                          <a:cubicBezTo>
                            <a:pt x="117" y="86"/>
                            <a:pt x="117" y="86"/>
                            <a:pt x="117" y="86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9" name="Freeform 2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830108" y="1154290"/>
                      <a:ext cx="228487" cy="108658"/>
                    </a:xfrm>
                    <a:custGeom>
                      <a:avLst/>
                      <a:gdLst>
                        <a:gd name="T0" fmla="*/ 157 w 208"/>
                        <a:gd name="T1" fmla="*/ 95 h 95"/>
                        <a:gd name="T2" fmla="*/ 147 w 208"/>
                        <a:gd name="T3" fmla="*/ 95 h 95"/>
                        <a:gd name="T4" fmla="*/ 114 w 208"/>
                        <a:gd name="T5" fmla="*/ 63 h 95"/>
                        <a:gd name="T6" fmla="*/ 112 w 208"/>
                        <a:gd name="T7" fmla="*/ 63 h 95"/>
                        <a:gd name="T8" fmla="*/ 106 w 208"/>
                        <a:gd name="T9" fmla="*/ 51 h 95"/>
                        <a:gd name="T10" fmla="*/ 114 w 208"/>
                        <a:gd name="T11" fmla="*/ 51 h 95"/>
                        <a:gd name="T12" fmla="*/ 157 w 208"/>
                        <a:gd name="T13" fmla="*/ 95 h 95"/>
                        <a:gd name="T14" fmla="*/ 114 w 208"/>
                        <a:gd name="T15" fmla="*/ 0 h 95"/>
                        <a:gd name="T16" fmla="*/ 47 w 208"/>
                        <a:gd name="T17" fmla="*/ 27 h 95"/>
                        <a:gd name="T18" fmla="*/ 57 w 208"/>
                        <a:gd name="T19" fmla="*/ 25 h 95"/>
                        <a:gd name="T20" fmla="*/ 65 w 208"/>
                        <a:gd name="T21" fmla="*/ 27 h 95"/>
                        <a:gd name="T22" fmla="*/ 114 w 208"/>
                        <a:gd name="T23" fmla="*/ 12 h 95"/>
                        <a:gd name="T24" fmla="*/ 198 w 208"/>
                        <a:gd name="T25" fmla="*/ 95 h 95"/>
                        <a:gd name="T26" fmla="*/ 208 w 208"/>
                        <a:gd name="T27" fmla="*/ 95 h 95"/>
                        <a:gd name="T28" fmla="*/ 114 w 208"/>
                        <a:gd name="T29" fmla="*/ 0 h 95"/>
                        <a:gd name="T30" fmla="*/ 114 w 208"/>
                        <a:gd name="T31" fmla="*/ 27 h 95"/>
                        <a:gd name="T32" fmla="*/ 78 w 208"/>
                        <a:gd name="T33" fmla="*/ 35 h 95"/>
                        <a:gd name="T34" fmla="*/ 80 w 208"/>
                        <a:gd name="T35" fmla="*/ 39 h 95"/>
                        <a:gd name="T36" fmla="*/ 80 w 208"/>
                        <a:gd name="T37" fmla="*/ 39 h 95"/>
                        <a:gd name="T38" fmla="*/ 94 w 208"/>
                        <a:gd name="T39" fmla="*/ 41 h 95"/>
                        <a:gd name="T40" fmla="*/ 114 w 208"/>
                        <a:gd name="T41" fmla="*/ 37 h 95"/>
                        <a:gd name="T42" fmla="*/ 171 w 208"/>
                        <a:gd name="T43" fmla="*/ 95 h 95"/>
                        <a:gd name="T44" fmla="*/ 183 w 208"/>
                        <a:gd name="T45" fmla="*/ 95 h 95"/>
                        <a:gd name="T46" fmla="*/ 114 w 208"/>
                        <a:gd name="T47" fmla="*/ 27 h 95"/>
                        <a:gd name="T48" fmla="*/ 0 w 208"/>
                        <a:gd name="T49" fmla="*/ 79 h 95"/>
                        <a:gd name="T50" fmla="*/ 17 w 208"/>
                        <a:gd name="T51" fmla="*/ 93 h 95"/>
                        <a:gd name="T52" fmla="*/ 19 w 208"/>
                        <a:gd name="T53" fmla="*/ 93 h 95"/>
                        <a:gd name="T54" fmla="*/ 84 w 208"/>
                        <a:gd name="T55" fmla="*/ 93 h 95"/>
                        <a:gd name="T56" fmla="*/ 104 w 208"/>
                        <a:gd name="T57" fmla="*/ 71 h 95"/>
                        <a:gd name="T58" fmla="*/ 80 w 208"/>
                        <a:gd name="T59" fmla="*/ 49 h 95"/>
                        <a:gd name="T60" fmla="*/ 74 w 208"/>
                        <a:gd name="T61" fmla="*/ 49 h 95"/>
                        <a:gd name="T62" fmla="*/ 57 w 208"/>
                        <a:gd name="T63" fmla="*/ 35 h 95"/>
                        <a:gd name="T64" fmla="*/ 37 w 208"/>
                        <a:gd name="T65" fmla="*/ 53 h 95"/>
                        <a:gd name="T66" fmla="*/ 37 w 208"/>
                        <a:gd name="T67" fmla="*/ 57 h 95"/>
                        <a:gd name="T68" fmla="*/ 31 w 208"/>
                        <a:gd name="T69" fmla="*/ 55 h 95"/>
                        <a:gd name="T70" fmla="*/ 19 w 208"/>
                        <a:gd name="T71" fmla="*/ 63 h 95"/>
                        <a:gd name="T72" fmla="*/ 17 w 208"/>
                        <a:gd name="T73" fmla="*/ 63 h 95"/>
                        <a:gd name="T74" fmla="*/ 0 w 208"/>
                        <a:gd name="T75" fmla="*/ 79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208" h="95">
                          <a:moveTo>
                            <a:pt x="157" y="95"/>
                          </a:moveTo>
                          <a:cubicBezTo>
                            <a:pt x="147" y="95"/>
                            <a:pt x="147" y="95"/>
                            <a:pt x="147" y="95"/>
                          </a:cubicBezTo>
                          <a:cubicBezTo>
                            <a:pt x="147" y="77"/>
                            <a:pt x="131" y="63"/>
                            <a:pt x="114" y="63"/>
                          </a:cubicBezTo>
                          <a:cubicBezTo>
                            <a:pt x="112" y="63"/>
                            <a:pt x="112" y="63"/>
                            <a:pt x="112" y="63"/>
                          </a:cubicBezTo>
                          <a:cubicBezTo>
                            <a:pt x="110" y="59"/>
                            <a:pt x="108" y="55"/>
                            <a:pt x="106" y="51"/>
                          </a:cubicBezTo>
                          <a:cubicBezTo>
                            <a:pt x="108" y="51"/>
                            <a:pt x="110" y="51"/>
                            <a:pt x="114" y="51"/>
                          </a:cubicBezTo>
                          <a:cubicBezTo>
                            <a:pt x="139" y="51"/>
                            <a:pt x="157" y="71"/>
                            <a:pt x="157" y="95"/>
                          </a:cubicBezTo>
                          <a:close/>
                          <a:moveTo>
                            <a:pt x="114" y="0"/>
                          </a:moveTo>
                          <a:cubicBezTo>
                            <a:pt x="88" y="0"/>
                            <a:pt x="65" y="10"/>
                            <a:pt x="47" y="27"/>
                          </a:cubicBezTo>
                          <a:cubicBezTo>
                            <a:pt x="51" y="27"/>
                            <a:pt x="53" y="25"/>
                            <a:pt x="57" y="25"/>
                          </a:cubicBezTo>
                          <a:cubicBezTo>
                            <a:pt x="59" y="25"/>
                            <a:pt x="63" y="27"/>
                            <a:pt x="65" y="27"/>
                          </a:cubicBezTo>
                          <a:cubicBezTo>
                            <a:pt x="80" y="18"/>
                            <a:pt x="96" y="12"/>
                            <a:pt x="114" y="12"/>
                          </a:cubicBezTo>
                          <a:cubicBezTo>
                            <a:pt x="159" y="12"/>
                            <a:pt x="198" y="49"/>
                            <a:pt x="198" y="95"/>
                          </a:cubicBezTo>
                          <a:cubicBezTo>
                            <a:pt x="208" y="95"/>
                            <a:pt x="208" y="95"/>
                            <a:pt x="208" y="95"/>
                          </a:cubicBezTo>
                          <a:cubicBezTo>
                            <a:pt x="208" y="43"/>
                            <a:pt x="165" y="0"/>
                            <a:pt x="114" y="0"/>
                          </a:cubicBezTo>
                          <a:close/>
                          <a:moveTo>
                            <a:pt x="114" y="27"/>
                          </a:moveTo>
                          <a:cubicBezTo>
                            <a:pt x="100" y="27"/>
                            <a:pt x="88" y="29"/>
                            <a:pt x="78" y="35"/>
                          </a:cubicBezTo>
                          <a:cubicBezTo>
                            <a:pt x="80" y="37"/>
                            <a:pt x="80" y="37"/>
                            <a:pt x="80" y="39"/>
                          </a:cubicBezTo>
                          <a:cubicBezTo>
                            <a:pt x="80" y="39"/>
                            <a:pt x="80" y="39"/>
                            <a:pt x="80" y="39"/>
                          </a:cubicBezTo>
                          <a:cubicBezTo>
                            <a:pt x="86" y="39"/>
                            <a:pt x="90" y="39"/>
                            <a:pt x="94" y="41"/>
                          </a:cubicBezTo>
                          <a:cubicBezTo>
                            <a:pt x="100" y="39"/>
                            <a:pt x="106" y="37"/>
                            <a:pt x="114" y="37"/>
                          </a:cubicBezTo>
                          <a:cubicBezTo>
                            <a:pt x="145" y="37"/>
                            <a:pt x="171" y="63"/>
                            <a:pt x="171" y="95"/>
                          </a:cubicBezTo>
                          <a:cubicBezTo>
                            <a:pt x="183" y="95"/>
                            <a:pt x="183" y="95"/>
                            <a:pt x="183" y="95"/>
                          </a:cubicBezTo>
                          <a:cubicBezTo>
                            <a:pt x="183" y="57"/>
                            <a:pt x="153" y="27"/>
                            <a:pt x="114" y="27"/>
                          </a:cubicBezTo>
                          <a:close/>
                          <a:moveTo>
                            <a:pt x="0" y="79"/>
                          </a:moveTo>
                          <a:cubicBezTo>
                            <a:pt x="0" y="87"/>
                            <a:pt x="7" y="93"/>
                            <a:pt x="17" y="93"/>
                          </a:cubicBezTo>
                          <a:cubicBezTo>
                            <a:pt x="19" y="93"/>
                            <a:pt x="19" y="93"/>
                            <a:pt x="19" y="93"/>
                          </a:cubicBezTo>
                          <a:cubicBezTo>
                            <a:pt x="84" y="93"/>
                            <a:pt x="84" y="93"/>
                            <a:pt x="84" y="93"/>
                          </a:cubicBezTo>
                          <a:cubicBezTo>
                            <a:pt x="94" y="93"/>
                            <a:pt x="104" y="83"/>
                            <a:pt x="104" y="71"/>
                          </a:cubicBezTo>
                          <a:cubicBezTo>
                            <a:pt x="104" y="59"/>
                            <a:pt x="94" y="49"/>
                            <a:pt x="80" y="49"/>
                          </a:cubicBezTo>
                          <a:cubicBezTo>
                            <a:pt x="78" y="49"/>
                            <a:pt x="76" y="49"/>
                            <a:pt x="74" y="49"/>
                          </a:cubicBezTo>
                          <a:cubicBezTo>
                            <a:pt x="72" y="41"/>
                            <a:pt x="65" y="35"/>
                            <a:pt x="57" y="35"/>
                          </a:cubicBezTo>
                          <a:cubicBezTo>
                            <a:pt x="45" y="35"/>
                            <a:pt x="37" y="43"/>
                            <a:pt x="37" y="53"/>
                          </a:cubicBezTo>
                          <a:cubicBezTo>
                            <a:pt x="37" y="55"/>
                            <a:pt x="37" y="55"/>
                            <a:pt x="37" y="57"/>
                          </a:cubicBezTo>
                          <a:cubicBezTo>
                            <a:pt x="35" y="55"/>
                            <a:pt x="33" y="55"/>
                            <a:pt x="31" y="55"/>
                          </a:cubicBezTo>
                          <a:cubicBezTo>
                            <a:pt x="27" y="55"/>
                            <a:pt x="21" y="59"/>
                            <a:pt x="19" y="63"/>
                          </a:cubicBezTo>
                          <a:cubicBezTo>
                            <a:pt x="17" y="63"/>
                            <a:pt x="17" y="63"/>
                            <a:pt x="17" y="63"/>
                          </a:cubicBezTo>
                          <a:cubicBezTo>
                            <a:pt x="7" y="63"/>
                            <a:pt x="0" y="69"/>
                            <a:pt x="0" y="79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0" name="Freeform 212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526332" y="832802"/>
                      <a:ext cx="256138" cy="264099"/>
                    </a:xfrm>
                    <a:custGeom>
                      <a:avLst/>
                      <a:gdLst>
                        <a:gd name="T0" fmla="*/ 86 w 176"/>
                        <a:gd name="T1" fmla="*/ 78 h 175"/>
                        <a:gd name="T2" fmla="*/ 92 w 176"/>
                        <a:gd name="T3" fmla="*/ 48 h 175"/>
                        <a:gd name="T4" fmla="*/ 92 w 176"/>
                        <a:gd name="T5" fmla="*/ 50 h 175"/>
                        <a:gd name="T6" fmla="*/ 101 w 176"/>
                        <a:gd name="T7" fmla="*/ 53 h 175"/>
                        <a:gd name="T8" fmla="*/ 109 w 176"/>
                        <a:gd name="T9" fmla="*/ 67 h 175"/>
                        <a:gd name="T10" fmla="*/ 131 w 176"/>
                        <a:gd name="T11" fmla="*/ 40 h 175"/>
                        <a:gd name="T12" fmla="*/ 92 w 176"/>
                        <a:gd name="T13" fmla="*/ 47 h 175"/>
                        <a:gd name="T14" fmla="*/ 92 w 176"/>
                        <a:gd name="T15" fmla="*/ 48 h 175"/>
                        <a:gd name="T16" fmla="*/ 101 w 176"/>
                        <a:gd name="T17" fmla="*/ 50 h 175"/>
                        <a:gd name="T18" fmla="*/ 111 w 176"/>
                        <a:gd name="T19" fmla="*/ 53 h 175"/>
                        <a:gd name="T20" fmla="*/ 111 w 176"/>
                        <a:gd name="T21" fmla="*/ 51 h 175"/>
                        <a:gd name="T22" fmla="*/ 111 w 176"/>
                        <a:gd name="T23" fmla="*/ 53 h 175"/>
                        <a:gd name="T24" fmla="*/ 110 w 176"/>
                        <a:gd name="T25" fmla="*/ 53 h 175"/>
                        <a:gd name="T26" fmla="*/ 111 w 176"/>
                        <a:gd name="T27" fmla="*/ 51 h 175"/>
                        <a:gd name="T28" fmla="*/ 110 w 176"/>
                        <a:gd name="T29" fmla="*/ 53 h 175"/>
                        <a:gd name="T30" fmla="*/ 51 w 176"/>
                        <a:gd name="T31" fmla="*/ 102 h 175"/>
                        <a:gd name="T32" fmla="*/ 83 w 176"/>
                        <a:gd name="T33" fmla="*/ 93 h 175"/>
                        <a:gd name="T34" fmla="*/ 49 w 176"/>
                        <a:gd name="T35" fmla="*/ 83 h 175"/>
                        <a:gd name="T36" fmla="*/ 30 w 176"/>
                        <a:gd name="T37" fmla="*/ 87 h 175"/>
                        <a:gd name="T38" fmla="*/ 44 w 176"/>
                        <a:gd name="T39" fmla="*/ 103 h 175"/>
                        <a:gd name="T40" fmla="*/ 51 w 176"/>
                        <a:gd name="T41" fmla="*/ 102 h 175"/>
                        <a:gd name="T42" fmla="*/ 51 w 176"/>
                        <a:gd name="T43" fmla="*/ 92 h 175"/>
                        <a:gd name="T44" fmla="*/ 45 w 176"/>
                        <a:gd name="T45" fmla="*/ 83 h 175"/>
                        <a:gd name="T46" fmla="*/ 46 w 176"/>
                        <a:gd name="T47" fmla="*/ 84 h 175"/>
                        <a:gd name="T48" fmla="*/ 44 w 176"/>
                        <a:gd name="T49" fmla="*/ 86 h 175"/>
                        <a:gd name="T50" fmla="*/ 45 w 176"/>
                        <a:gd name="T51" fmla="*/ 84 h 175"/>
                        <a:gd name="T52" fmla="*/ 48 w 176"/>
                        <a:gd name="T53" fmla="*/ 84 h 175"/>
                        <a:gd name="T54" fmla="*/ 45 w 176"/>
                        <a:gd name="T55" fmla="*/ 84 h 175"/>
                        <a:gd name="T56" fmla="*/ 46 w 176"/>
                        <a:gd name="T57" fmla="*/ 86 h 175"/>
                        <a:gd name="T58" fmla="*/ 45 w 176"/>
                        <a:gd name="T59" fmla="*/ 84 h 175"/>
                        <a:gd name="T60" fmla="*/ 118 w 176"/>
                        <a:gd name="T61" fmla="*/ 110 h 175"/>
                        <a:gd name="T62" fmla="*/ 95 w 176"/>
                        <a:gd name="T63" fmla="*/ 87 h 175"/>
                        <a:gd name="T64" fmla="*/ 123 w 176"/>
                        <a:gd name="T65" fmla="*/ 126 h 175"/>
                        <a:gd name="T66" fmla="*/ 103 w 176"/>
                        <a:gd name="T67" fmla="*/ 125 h 175"/>
                        <a:gd name="T68" fmla="*/ 95 w 176"/>
                        <a:gd name="T69" fmla="*/ 151 h 175"/>
                        <a:gd name="T70" fmla="*/ 118 w 176"/>
                        <a:gd name="T71" fmla="*/ 110 h 175"/>
                        <a:gd name="T72" fmla="*/ 110 w 176"/>
                        <a:gd name="T73" fmla="*/ 115 h 175"/>
                        <a:gd name="T74" fmla="*/ 105 w 176"/>
                        <a:gd name="T75" fmla="*/ 124 h 175"/>
                        <a:gd name="T76" fmla="*/ 107 w 176"/>
                        <a:gd name="T77" fmla="*/ 125 h 175"/>
                        <a:gd name="T78" fmla="*/ 112 w 176"/>
                        <a:gd name="T79" fmla="*/ 117 h 175"/>
                        <a:gd name="T80" fmla="*/ 108 w 176"/>
                        <a:gd name="T81" fmla="*/ 125 h 175"/>
                        <a:gd name="T82" fmla="*/ 107 w 176"/>
                        <a:gd name="T83" fmla="*/ 125 h 175"/>
                        <a:gd name="T84" fmla="*/ 112 w 176"/>
                        <a:gd name="T85" fmla="*/ 117 h 175"/>
                        <a:gd name="T86" fmla="*/ 107 w 176"/>
                        <a:gd name="T87" fmla="*/ 125 h 175"/>
                        <a:gd name="T88" fmla="*/ 105 w 176"/>
                        <a:gd name="T89" fmla="*/ 124 h 175"/>
                        <a:gd name="T90" fmla="*/ 92 w 176"/>
                        <a:gd name="T91" fmla="*/ 86 h 175"/>
                        <a:gd name="T92" fmla="*/ 86 w 176"/>
                        <a:gd name="T93" fmla="*/ 80 h 175"/>
                        <a:gd name="T94" fmla="*/ 82 w 176"/>
                        <a:gd name="T95" fmla="*/ 90 h 175"/>
                        <a:gd name="T96" fmla="*/ 80 w 176"/>
                        <a:gd name="T97" fmla="*/ 87 h 175"/>
                        <a:gd name="T98" fmla="*/ 95 w 176"/>
                        <a:gd name="T99" fmla="*/ 90 h 175"/>
                        <a:gd name="T100" fmla="*/ 86 w 176"/>
                        <a:gd name="T101" fmla="*/ 80 h 175"/>
                        <a:gd name="T102" fmla="*/ 80 w 176"/>
                        <a:gd name="T103" fmla="*/ 91 h 175"/>
                        <a:gd name="T104" fmla="*/ 95 w 176"/>
                        <a:gd name="T105" fmla="*/ 90 h 175"/>
                        <a:gd name="T106" fmla="*/ 24 w 176"/>
                        <a:gd name="T107" fmla="*/ 130 h 175"/>
                        <a:gd name="T108" fmla="*/ 29 w 176"/>
                        <a:gd name="T109" fmla="*/ 38 h 175"/>
                        <a:gd name="T110" fmla="*/ 117 w 176"/>
                        <a:gd name="T111" fmla="*/ 16 h 175"/>
                        <a:gd name="T112" fmla="*/ 164 w 176"/>
                        <a:gd name="T113" fmla="*/ 95 h 175"/>
                        <a:gd name="T114" fmla="*/ 95 w 176"/>
                        <a:gd name="T115" fmla="*/ 164 h 175"/>
                        <a:gd name="T116" fmla="*/ 156 w 176"/>
                        <a:gd name="T117" fmla="*/ 142 h 175"/>
                        <a:gd name="T118" fmla="*/ 161 w 176"/>
                        <a:gd name="T119" fmla="*/ 38 h 175"/>
                        <a:gd name="T120" fmla="*/ 62 w 176"/>
                        <a:gd name="T121" fmla="*/ 4 h 175"/>
                        <a:gd name="T122" fmla="*/ 0 w 176"/>
                        <a:gd name="T123" fmla="*/ 87 h 175"/>
                        <a:gd name="T124" fmla="*/ 70 w 176"/>
                        <a:gd name="T125" fmla="*/ 173 h 1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176" h="175">
                          <a:moveTo>
                            <a:pt x="92" y="48"/>
                          </a:move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86" y="50"/>
                          </a:lnTo>
                          <a:lnTo>
                            <a:pt x="80" y="51"/>
                          </a:lnTo>
                          <a:lnTo>
                            <a:pt x="77" y="55"/>
                          </a:lnTo>
                          <a:lnTo>
                            <a:pt x="74" y="61"/>
                          </a:lnTo>
                          <a:lnTo>
                            <a:pt x="74" y="61"/>
                          </a:lnTo>
                          <a:lnTo>
                            <a:pt x="74" y="67"/>
                          </a:lnTo>
                          <a:lnTo>
                            <a:pt x="77" y="72"/>
                          </a:lnTo>
                          <a:lnTo>
                            <a:pt x="77" y="72"/>
                          </a:lnTo>
                          <a:lnTo>
                            <a:pt x="80" y="76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78" y="76"/>
                          </a:lnTo>
                          <a:lnTo>
                            <a:pt x="74" y="72"/>
                          </a:lnTo>
                          <a:lnTo>
                            <a:pt x="73" y="67"/>
                          </a:lnTo>
                          <a:lnTo>
                            <a:pt x="73" y="61"/>
                          </a:lnTo>
                          <a:lnTo>
                            <a:pt x="73" y="61"/>
                          </a:lnTo>
                          <a:lnTo>
                            <a:pt x="76" y="55"/>
                          </a:lnTo>
                          <a:lnTo>
                            <a:pt x="80" y="50"/>
                          </a:lnTo>
                          <a:lnTo>
                            <a:pt x="86" y="47"/>
                          </a:lnTo>
                          <a:lnTo>
                            <a:pt x="92" y="47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101" y="53"/>
                          </a:moveTo>
                          <a:lnTo>
                            <a:pt x="101" y="53"/>
                          </a:lnTo>
                          <a:lnTo>
                            <a:pt x="98" y="51"/>
                          </a:lnTo>
                          <a:lnTo>
                            <a:pt x="97" y="50"/>
                          </a:lnTo>
                          <a:lnTo>
                            <a:pt x="92" y="48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5"/>
                          </a:lnTo>
                          <a:lnTo>
                            <a:pt x="93" y="59"/>
                          </a:lnTo>
                          <a:lnTo>
                            <a:pt x="98" y="63"/>
                          </a:lnTo>
                          <a:lnTo>
                            <a:pt x="103" y="65"/>
                          </a:lnTo>
                          <a:lnTo>
                            <a:pt x="108" y="67"/>
                          </a:lnTo>
                          <a:lnTo>
                            <a:pt x="108" y="67"/>
                          </a:lnTo>
                          <a:lnTo>
                            <a:pt x="109" y="55"/>
                          </a:lnTo>
                          <a:lnTo>
                            <a:pt x="101" y="53"/>
                          </a:lnTo>
                          <a:lnTo>
                            <a:pt x="101" y="53"/>
                          </a:lnTo>
                          <a:lnTo>
                            <a:pt x="101" y="53"/>
                          </a:lnTo>
                          <a:close/>
                          <a:moveTo>
                            <a:pt x="131" y="40"/>
                          </a:moveTo>
                          <a:lnTo>
                            <a:pt x="116" y="37"/>
                          </a:lnTo>
                          <a:lnTo>
                            <a:pt x="116" y="37"/>
                          </a:lnTo>
                          <a:lnTo>
                            <a:pt x="112" y="50"/>
                          </a:lnTo>
                          <a:lnTo>
                            <a:pt x="112" y="50"/>
                          </a:lnTo>
                          <a:lnTo>
                            <a:pt x="112" y="50"/>
                          </a:lnTo>
                          <a:lnTo>
                            <a:pt x="114" y="50"/>
                          </a:lnTo>
                          <a:lnTo>
                            <a:pt x="114" y="53"/>
                          </a:lnTo>
                          <a:lnTo>
                            <a:pt x="114" y="53"/>
                          </a:lnTo>
                          <a:lnTo>
                            <a:pt x="112" y="55"/>
                          </a:lnTo>
                          <a:lnTo>
                            <a:pt x="110" y="55"/>
                          </a:lnTo>
                          <a:lnTo>
                            <a:pt x="110" y="55"/>
                          </a:lnTo>
                          <a:lnTo>
                            <a:pt x="110" y="55"/>
                          </a:lnTo>
                          <a:lnTo>
                            <a:pt x="109" y="67"/>
                          </a:lnTo>
                          <a:lnTo>
                            <a:pt x="124" y="70"/>
                          </a:lnTo>
                          <a:lnTo>
                            <a:pt x="124" y="70"/>
                          </a:lnTo>
                          <a:lnTo>
                            <a:pt x="130" y="71"/>
                          </a:lnTo>
                          <a:lnTo>
                            <a:pt x="135" y="68"/>
                          </a:lnTo>
                          <a:lnTo>
                            <a:pt x="138" y="65"/>
                          </a:lnTo>
                          <a:lnTo>
                            <a:pt x="141" y="59"/>
                          </a:lnTo>
                          <a:lnTo>
                            <a:pt x="142" y="59"/>
                          </a:lnTo>
                          <a:lnTo>
                            <a:pt x="142" y="59"/>
                          </a:lnTo>
                          <a:lnTo>
                            <a:pt x="142" y="53"/>
                          </a:lnTo>
                          <a:lnTo>
                            <a:pt x="140" y="48"/>
                          </a:lnTo>
                          <a:lnTo>
                            <a:pt x="136" y="43"/>
                          </a:lnTo>
                          <a:lnTo>
                            <a:pt x="131" y="40"/>
                          </a:lnTo>
                          <a:lnTo>
                            <a:pt x="131" y="40"/>
                          </a:lnTo>
                          <a:lnTo>
                            <a:pt x="131" y="40"/>
                          </a:lnTo>
                          <a:close/>
                          <a:moveTo>
                            <a:pt x="92" y="47"/>
                          </a:moveTo>
                          <a:lnTo>
                            <a:pt x="98" y="48"/>
                          </a:lnTo>
                          <a:lnTo>
                            <a:pt x="98" y="48"/>
                          </a:lnTo>
                          <a:lnTo>
                            <a:pt x="99" y="47"/>
                          </a:lnTo>
                          <a:lnTo>
                            <a:pt x="102" y="47"/>
                          </a:lnTo>
                          <a:lnTo>
                            <a:pt x="111" y="50"/>
                          </a:lnTo>
                          <a:lnTo>
                            <a:pt x="111" y="50"/>
                          </a:lnTo>
                          <a:lnTo>
                            <a:pt x="114" y="37"/>
                          </a:lnTo>
                          <a:lnTo>
                            <a:pt x="110" y="36"/>
                          </a:lnTo>
                          <a:lnTo>
                            <a:pt x="110" y="36"/>
                          </a:lnTo>
                          <a:lnTo>
                            <a:pt x="105" y="36"/>
                          </a:lnTo>
                          <a:lnTo>
                            <a:pt x="99" y="38"/>
                          </a:lnTo>
                          <a:lnTo>
                            <a:pt x="95" y="42"/>
                          </a:lnTo>
                          <a:lnTo>
                            <a:pt x="92" y="47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7"/>
                          </a:lnTo>
                          <a:lnTo>
                            <a:pt x="92" y="47"/>
                          </a:lnTo>
                          <a:lnTo>
                            <a:pt x="92" y="47"/>
                          </a:lnTo>
                          <a:close/>
                          <a:moveTo>
                            <a:pt x="92" y="48"/>
                          </a:move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close/>
                          <a:moveTo>
                            <a:pt x="103" y="48"/>
                          </a:moveTo>
                          <a:lnTo>
                            <a:pt x="103" y="48"/>
                          </a:lnTo>
                          <a:lnTo>
                            <a:pt x="102" y="48"/>
                          </a:lnTo>
                          <a:lnTo>
                            <a:pt x="101" y="50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03" y="48"/>
                          </a:lnTo>
                          <a:lnTo>
                            <a:pt x="103" y="48"/>
                          </a:lnTo>
                          <a:lnTo>
                            <a:pt x="103" y="48"/>
                          </a:lnTo>
                          <a:close/>
                          <a:moveTo>
                            <a:pt x="101" y="50"/>
                          </a:moveTo>
                          <a:lnTo>
                            <a:pt x="101" y="50"/>
                          </a:lnTo>
                          <a:lnTo>
                            <a:pt x="102" y="51"/>
                          </a:lnTo>
                          <a:lnTo>
                            <a:pt x="103" y="53"/>
                          </a:lnTo>
                          <a:lnTo>
                            <a:pt x="109" y="53"/>
                          </a:lnTo>
                          <a:lnTo>
                            <a:pt x="109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close/>
                          <a:moveTo>
                            <a:pt x="111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close/>
                          <a:moveTo>
                            <a:pt x="111" y="51"/>
                          </a:move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close/>
                          <a:moveTo>
                            <a:pt x="111" y="51"/>
                          </a:move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10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close/>
                          <a:moveTo>
                            <a:pt x="110" y="53"/>
                          </a:move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close/>
                          <a:moveTo>
                            <a:pt x="110" y="51"/>
                          </a:move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close/>
                          <a:moveTo>
                            <a:pt x="111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close/>
                          <a:moveTo>
                            <a:pt x="110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close/>
                          <a:moveTo>
                            <a:pt x="80" y="91"/>
                          </a:moveTo>
                          <a:lnTo>
                            <a:pt x="80" y="91"/>
                          </a:lnTo>
                          <a:lnTo>
                            <a:pt x="82" y="97"/>
                          </a:lnTo>
                          <a:lnTo>
                            <a:pt x="80" y="103"/>
                          </a:lnTo>
                          <a:lnTo>
                            <a:pt x="76" y="108"/>
                          </a:lnTo>
                          <a:lnTo>
                            <a:pt x="71" y="111"/>
                          </a:lnTo>
                          <a:lnTo>
                            <a:pt x="71" y="111"/>
                          </a:lnTo>
                          <a:lnTo>
                            <a:pt x="65" y="112"/>
                          </a:lnTo>
                          <a:lnTo>
                            <a:pt x="59" y="110"/>
                          </a:lnTo>
                          <a:lnTo>
                            <a:pt x="55" y="106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0" y="102"/>
                          </a:lnTo>
                          <a:lnTo>
                            <a:pt x="50" y="102"/>
                          </a:lnTo>
                          <a:lnTo>
                            <a:pt x="54" y="108"/>
                          </a:lnTo>
                          <a:lnTo>
                            <a:pt x="59" y="112"/>
                          </a:lnTo>
                          <a:lnTo>
                            <a:pt x="65" y="114"/>
                          </a:lnTo>
                          <a:lnTo>
                            <a:pt x="73" y="112"/>
                          </a:lnTo>
                          <a:lnTo>
                            <a:pt x="73" y="112"/>
                          </a:lnTo>
                          <a:lnTo>
                            <a:pt x="74" y="111"/>
                          </a:lnTo>
                          <a:lnTo>
                            <a:pt x="74" y="111"/>
                          </a:lnTo>
                          <a:lnTo>
                            <a:pt x="80" y="108"/>
                          </a:lnTo>
                          <a:lnTo>
                            <a:pt x="82" y="103"/>
                          </a:lnTo>
                          <a:lnTo>
                            <a:pt x="83" y="99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close/>
                          <a:moveTo>
                            <a:pt x="41" y="84"/>
                          </a:moveTo>
                          <a:lnTo>
                            <a:pt x="41" y="84"/>
                          </a:lnTo>
                          <a:lnTo>
                            <a:pt x="43" y="82"/>
                          </a:lnTo>
                          <a:lnTo>
                            <a:pt x="44" y="80"/>
                          </a:lnTo>
                          <a:lnTo>
                            <a:pt x="44" y="80"/>
                          </a:lnTo>
                          <a:lnTo>
                            <a:pt x="46" y="80"/>
                          </a:lnTo>
                          <a:lnTo>
                            <a:pt x="49" y="83"/>
                          </a:lnTo>
                          <a:lnTo>
                            <a:pt x="49" y="83"/>
                          </a:lnTo>
                          <a:lnTo>
                            <a:pt x="49" y="83"/>
                          </a:lnTo>
                          <a:lnTo>
                            <a:pt x="59" y="78"/>
                          </a:lnTo>
                          <a:lnTo>
                            <a:pt x="55" y="63"/>
                          </a:lnTo>
                          <a:lnTo>
                            <a:pt x="55" y="63"/>
                          </a:lnTo>
                          <a:lnTo>
                            <a:pt x="53" y="59"/>
                          </a:lnTo>
                          <a:lnTo>
                            <a:pt x="49" y="55"/>
                          </a:lnTo>
                          <a:lnTo>
                            <a:pt x="43" y="53"/>
                          </a:lnTo>
                          <a:lnTo>
                            <a:pt x="37" y="53"/>
                          </a:lnTo>
                          <a:lnTo>
                            <a:pt x="36" y="55"/>
                          </a:lnTo>
                          <a:lnTo>
                            <a:pt x="36" y="55"/>
                          </a:lnTo>
                          <a:lnTo>
                            <a:pt x="30" y="57"/>
                          </a:lnTo>
                          <a:lnTo>
                            <a:pt x="26" y="62"/>
                          </a:lnTo>
                          <a:lnTo>
                            <a:pt x="25" y="67"/>
                          </a:lnTo>
                          <a:lnTo>
                            <a:pt x="26" y="72"/>
                          </a:lnTo>
                          <a:lnTo>
                            <a:pt x="30" y="87"/>
                          </a:lnTo>
                          <a:lnTo>
                            <a:pt x="30" y="87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close/>
                          <a:moveTo>
                            <a:pt x="45" y="95"/>
                          </a:moveTo>
                          <a:lnTo>
                            <a:pt x="43" y="86"/>
                          </a:lnTo>
                          <a:lnTo>
                            <a:pt x="43" y="86"/>
                          </a:lnTo>
                          <a:lnTo>
                            <a:pt x="31" y="89"/>
                          </a:lnTo>
                          <a:lnTo>
                            <a:pt x="32" y="92"/>
                          </a:lnTo>
                          <a:lnTo>
                            <a:pt x="32" y="92"/>
                          </a:lnTo>
                          <a:lnTo>
                            <a:pt x="35" y="99"/>
                          </a:lnTo>
                          <a:lnTo>
                            <a:pt x="39" y="101"/>
                          </a:lnTo>
                          <a:lnTo>
                            <a:pt x="44" y="103"/>
                          </a:lnTo>
                          <a:lnTo>
                            <a:pt x="50" y="102"/>
                          </a:lnTo>
                          <a:lnTo>
                            <a:pt x="50" y="102"/>
                          </a:lnTo>
                          <a:lnTo>
                            <a:pt x="49" y="97"/>
                          </a:lnTo>
                          <a:lnTo>
                            <a:pt x="49" y="97"/>
                          </a:lnTo>
                          <a:lnTo>
                            <a:pt x="46" y="96"/>
                          </a:lnTo>
                          <a:lnTo>
                            <a:pt x="45" y="95"/>
                          </a:lnTo>
                          <a:lnTo>
                            <a:pt x="45" y="95"/>
                          </a:lnTo>
                          <a:lnTo>
                            <a:pt x="45" y="95"/>
                          </a:lnTo>
                          <a:close/>
                          <a:moveTo>
                            <a:pt x="51" y="92"/>
                          </a:moveTo>
                          <a:lnTo>
                            <a:pt x="51" y="92"/>
                          </a:lnTo>
                          <a:lnTo>
                            <a:pt x="51" y="95"/>
                          </a:lnTo>
                          <a:lnTo>
                            <a:pt x="50" y="97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3" y="102"/>
                          </a:lnTo>
                          <a:lnTo>
                            <a:pt x="53" y="102"/>
                          </a:lnTo>
                          <a:lnTo>
                            <a:pt x="57" y="99"/>
                          </a:lnTo>
                          <a:lnTo>
                            <a:pt x="61" y="95"/>
                          </a:lnTo>
                          <a:lnTo>
                            <a:pt x="62" y="90"/>
                          </a:lnTo>
                          <a:lnTo>
                            <a:pt x="62" y="84"/>
                          </a:lnTo>
                          <a:lnTo>
                            <a:pt x="61" y="80"/>
                          </a:lnTo>
                          <a:lnTo>
                            <a:pt x="61" y="80"/>
                          </a:lnTo>
                          <a:lnTo>
                            <a:pt x="49" y="84"/>
                          </a:lnTo>
                          <a:lnTo>
                            <a:pt x="51" y="92"/>
                          </a:lnTo>
                          <a:lnTo>
                            <a:pt x="51" y="92"/>
                          </a:lnTo>
                          <a:lnTo>
                            <a:pt x="51" y="92"/>
                          </a:lnTo>
                          <a:close/>
                          <a:moveTo>
                            <a:pt x="51" y="102"/>
                          </a:move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close/>
                          <a:moveTo>
                            <a:pt x="45" y="83"/>
                          </a:move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4" y="84"/>
                          </a:lnTo>
                          <a:lnTo>
                            <a:pt x="44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6" y="83"/>
                          </a:moveTo>
                          <a:lnTo>
                            <a:pt x="46" y="83"/>
                          </a:lnTo>
                          <a:lnTo>
                            <a:pt x="45" y="83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close/>
                          <a:moveTo>
                            <a:pt x="44" y="86"/>
                          </a:move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5" y="92"/>
                          </a:lnTo>
                          <a:lnTo>
                            <a:pt x="45" y="92"/>
                          </a:lnTo>
                          <a:lnTo>
                            <a:pt x="46" y="93"/>
                          </a:lnTo>
                          <a:lnTo>
                            <a:pt x="48" y="93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close/>
                          <a:moveTo>
                            <a:pt x="49" y="93"/>
                          </a:moveTo>
                          <a:lnTo>
                            <a:pt x="49" y="93"/>
                          </a:lnTo>
                          <a:lnTo>
                            <a:pt x="50" y="92"/>
                          </a:lnTo>
                          <a:lnTo>
                            <a:pt x="50" y="91"/>
                          </a:lnTo>
                          <a:lnTo>
                            <a:pt x="48" y="86"/>
                          </a:lnTo>
                          <a:lnTo>
                            <a:pt x="48" y="86"/>
                          </a:lnTo>
                          <a:lnTo>
                            <a:pt x="48" y="84"/>
                          </a:lnTo>
                          <a:lnTo>
                            <a:pt x="48" y="84"/>
                          </a:lnTo>
                          <a:lnTo>
                            <a:pt x="46" y="86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4" y="84"/>
                          </a:lnTo>
                          <a:lnTo>
                            <a:pt x="44" y="84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5" y="86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6" y="84"/>
                          </a:moveTo>
                          <a:lnTo>
                            <a:pt x="46" y="86"/>
                          </a:lnTo>
                          <a:lnTo>
                            <a:pt x="46" y="86"/>
                          </a:lnTo>
                          <a:lnTo>
                            <a:pt x="48" y="84"/>
                          </a:lnTo>
                          <a:lnTo>
                            <a:pt x="48" y="84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6" y="84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5" y="86"/>
                          </a:move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8" y="93"/>
                          </a:lnTo>
                          <a:lnTo>
                            <a:pt x="48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6" y="86"/>
                          </a:lnTo>
                          <a:lnTo>
                            <a:pt x="46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6" y="86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95" y="90"/>
                          </a:moveTo>
                          <a:lnTo>
                            <a:pt x="95" y="90"/>
                          </a:lnTo>
                          <a:lnTo>
                            <a:pt x="99" y="86"/>
                          </a:lnTo>
                          <a:lnTo>
                            <a:pt x="105" y="86"/>
                          </a:lnTo>
                          <a:lnTo>
                            <a:pt x="111" y="86"/>
                          </a:lnTo>
                          <a:lnTo>
                            <a:pt x="117" y="89"/>
                          </a:lnTo>
                          <a:lnTo>
                            <a:pt x="117" y="89"/>
                          </a:lnTo>
                          <a:lnTo>
                            <a:pt x="120" y="93"/>
                          </a:lnTo>
                          <a:lnTo>
                            <a:pt x="122" y="99"/>
                          </a:lnTo>
                          <a:lnTo>
                            <a:pt x="122" y="105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1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23" y="105"/>
                          </a:lnTo>
                          <a:lnTo>
                            <a:pt x="123" y="99"/>
                          </a:lnTo>
                          <a:lnTo>
                            <a:pt x="122" y="92"/>
                          </a:lnTo>
                          <a:lnTo>
                            <a:pt x="117" y="87"/>
                          </a:lnTo>
                          <a:lnTo>
                            <a:pt x="117" y="87"/>
                          </a:lnTo>
                          <a:lnTo>
                            <a:pt x="112" y="84"/>
                          </a:lnTo>
                          <a:lnTo>
                            <a:pt x="107" y="83"/>
                          </a:lnTo>
                          <a:lnTo>
                            <a:pt x="101" y="84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close/>
                          <a:moveTo>
                            <a:pt x="116" y="115"/>
                          </a:moveTo>
                          <a:lnTo>
                            <a:pt x="116" y="115"/>
                          </a:lnTo>
                          <a:lnTo>
                            <a:pt x="116" y="117"/>
                          </a:lnTo>
                          <a:lnTo>
                            <a:pt x="114" y="120"/>
                          </a:lnTo>
                          <a:lnTo>
                            <a:pt x="109" y="126"/>
                          </a:lnTo>
                          <a:lnTo>
                            <a:pt x="109" y="126"/>
                          </a:lnTo>
                          <a:lnTo>
                            <a:pt x="117" y="135"/>
                          </a:lnTo>
                          <a:lnTo>
                            <a:pt x="120" y="131"/>
                          </a:lnTo>
                          <a:lnTo>
                            <a:pt x="120" y="131"/>
                          </a:lnTo>
                          <a:lnTo>
                            <a:pt x="123" y="126"/>
                          </a:lnTo>
                          <a:lnTo>
                            <a:pt x="124" y="122"/>
                          </a:lnTo>
                          <a:lnTo>
                            <a:pt x="123" y="116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16" y="115"/>
                          </a:lnTo>
                          <a:lnTo>
                            <a:pt x="116" y="115"/>
                          </a:lnTo>
                          <a:lnTo>
                            <a:pt x="116" y="115"/>
                          </a:lnTo>
                          <a:close/>
                          <a:moveTo>
                            <a:pt x="108" y="126"/>
                          </a:moveTo>
                          <a:lnTo>
                            <a:pt x="108" y="126"/>
                          </a:lnTo>
                          <a:lnTo>
                            <a:pt x="105" y="127"/>
                          </a:lnTo>
                          <a:lnTo>
                            <a:pt x="103" y="127"/>
                          </a:lnTo>
                          <a:lnTo>
                            <a:pt x="103" y="127"/>
                          </a:lnTo>
                          <a:lnTo>
                            <a:pt x="103" y="125"/>
                          </a:lnTo>
                          <a:lnTo>
                            <a:pt x="103" y="123"/>
                          </a:lnTo>
                          <a:lnTo>
                            <a:pt x="103" y="123"/>
                          </a:lnTo>
                          <a:lnTo>
                            <a:pt x="103" y="123"/>
                          </a:lnTo>
                          <a:lnTo>
                            <a:pt x="93" y="115"/>
                          </a:lnTo>
                          <a:lnTo>
                            <a:pt x="83" y="126"/>
                          </a:lnTo>
                          <a:lnTo>
                            <a:pt x="83" y="126"/>
                          </a:lnTo>
                          <a:lnTo>
                            <a:pt x="80" y="131"/>
                          </a:lnTo>
                          <a:lnTo>
                            <a:pt x="80" y="137"/>
                          </a:lnTo>
                          <a:lnTo>
                            <a:pt x="80" y="141"/>
                          </a:lnTo>
                          <a:lnTo>
                            <a:pt x="84" y="146"/>
                          </a:lnTo>
                          <a:lnTo>
                            <a:pt x="86" y="148"/>
                          </a:lnTo>
                          <a:lnTo>
                            <a:pt x="86" y="148"/>
                          </a:lnTo>
                          <a:lnTo>
                            <a:pt x="90" y="151"/>
                          </a:lnTo>
                          <a:lnTo>
                            <a:pt x="95" y="151"/>
                          </a:lnTo>
                          <a:lnTo>
                            <a:pt x="101" y="150"/>
                          </a:lnTo>
                          <a:lnTo>
                            <a:pt x="105" y="148"/>
                          </a:lnTo>
                          <a:lnTo>
                            <a:pt x="116" y="136"/>
                          </a:lnTo>
                          <a:lnTo>
                            <a:pt x="116" y="13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close/>
                          <a:moveTo>
                            <a:pt x="110" y="115"/>
                          </a:moveTo>
                          <a:lnTo>
                            <a:pt x="110" y="115"/>
                          </a:lnTo>
                          <a:lnTo>
                            <a:pt x="112" y="114"/>
                          </a:lnTo>
                          <a:lnTo>
                            <a:pt x="114" y="115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4" y="108"/>
                          </a:lnTo>
                          <a:lnTo>
                            <a:pt x="108" y="106"/>
                          </a:lnTo>
                          <a:lnTo>
                            <a:pt x="103" y="108"/>
                          </a:lnTo>
                          <a:lnTo>
                            <a:pt x="98" y="111"/>
                          </a:lnTo>
                          <a:lnTo>
                            <a:pt x="95" y="114"/>
                          </a:lnTo>
                          <a:lnTo>
                            <a:pt x="95" y="114"/>
                          </a:lnTo>
                          <a:lnTo>
                            <a:pt x="105" y="122"/>
                          </a:lnTo>
                          <a:lnTo>
                            <a:pt x="110" y="115"/>
                          </a:lnTo>
                          <a:lnTo>
                            <a:pt x="110" y="115"/>
                          </a:lnTo>
                          <a:lnTo>
                            <a:pt x="110" y="115"/>
                          </a:lnTo>
                          <a:close/>
                          <a:moveTo>
                            <a:pt x="118" y="110"/>
                          </a:move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5" y="125"/>
                          </a:move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close/>
                          <a:moveTo>
                            <a:pt x="107" y="125"/>
                          </a:move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112" y="117"/>
                          </a:moveTo>
                          <a:lnTo>
                            <a:pt x="112" y="117"/>
                          </a:lnTo>
                          <a:lnTo>
                            <a:pt x="111" y="117"/>
                          </a:lnTo>
                          <a:lnTo>
                            <a:pt x="110" y="117"/>
                          </a:lnTo>
                          <a:lnTo>
                            <a:pt x="105" y="122"/>
                          </a:lnTo>
                          <a:lnTo>
                            <a:pt x="105" y="122"/>
                          </a:lnTo>
                          <a:lnTo>
                            <a:pt x="105" y="123"/>
                          </a:lnTo>
                          <a:lnTo>
                            <a:pt x="105" y="123"/>
                          </a:lnTo>
                          <a:lnTo>
                            <a:pt x="107" y="123"/>
                          </a:lnTo>
                          <a:lnTo>
                            <a:pt x="112" y="117"/>
                          </a:lnTo>
                          <a:lnTo>
                            <a:pt x="112" y="117"/>
                          </a:lnTo>
                          <a:lnTo>
                            <a:pt x="112" y="117"/>
                          </a:lnTo>
                          <a:close/>
                          <a:moveTo>
                            <a:pt x="108" y="125"/>
                          </a:moveTo>
                          <a:lnTo>
                            <a:pt x="108" y="125"/>
                          </a:lnTo>
                          <a:lnTo>
                            <a:pt x="109" y="124"/>
                          </a:lnTo>
                          <a:lnTo>
                            <a:pt x="114" y="121"/>
                          </a:lnTo>
                          <a:lnTo>
                            <a:pt x="114" y="121"/>
                          </a:lnTo>
                          <a:lnTo>
                            <a:pt x="114" y="118"/>
                          </a:lnTo>
                          <a:lnTo>
                            <a:pt x="114" y="117"/>
                          </a:lnTo>
                          <a:lnTo>
                            <a:pt x="108" y="124"/>
                          </a:lnTo>
                          <a:lnTo>
                            <a:pt x="108" y="124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7" y="123"/>
                          </a:lnTo>
                          <a:lnTo>
                            <a:pt x="107" y="123"/>
                          </a:lnTo>
                          <a:lnTo>
                            <a:pt x="105" y="123"/>
                          </a:lnTo>
                          <a:lnTo>
                            <a:pt x="105" y="123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7" y="125"/>
                          </a:move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lnTo>
                            <a:pt x="108" y="124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107" y="124"/>
                          </a:moveTo>
                          <a:lnTo>
                            <a:pt x="107" y="124"/>
                          </a:lnTo>
                          <a:lnTo>
                            <a:pt x="108" y="124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2" y="117"/>
                          </a:lnTo>
                          <a:lnTo>
                            <a:pt x="107" y="123"/>
                          </a:lnTo>
                          <a:lnTo>
                            <a:pt x="107" y="123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7" y="125"/>
                          </a:moveTo>
                          <a:lnTo>
                            <a:pt x="108" y="124"/>
                          </a:lnTo>
                          <a:lnTo>
                            <a:pt x="108" y="124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lnTo>
                            <a:pt x="107" y="123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83" y="90"/>
                          </a:moveTo>
                          <a:lnTo>
                            <a:pt x="83" y="90"/>
                          </a:lnTo>
                          <a:lnTo>
                            <a:pt x="84" y="91"/>
                          </a:lnTo>
                          <a:lnTo>
                            <a:pt x="86" y="92"/>
                          </a:lnTo>
                          <a:lnTo>
                            <a:pt x="89" y="92"/>
                          </a:lnTo>
                          <a:lnTo>
                            <a:pt x="90" y="91"/>
                          </a:lnTo>
                          <a:lnTo>
                            <a:pt x="90" y="91"/>
                          </a:lnTo>
                          <a:lnTo>
                            <a:pt x="92" y="90"/>
                          </a:lnTo>
                          <a:lnTo>
                            <a:pt x="92" y="87"/>
                          </a:lnTo>
                          <a:lnTo>
                            <a:pt x="92" y="86"/>
                          </a:lnTo>
                          <a:lnTo>
                            <a:pt x="92" y="84"/>
                          </a:lnTo>
                          <a:lnTo>
                            <a:pt x="92" y="84"/>
                          </a:lnTo>
                          <a:lnTo>
                            <a:pt x="91" y="82"/>
                          </a:lnTo>
                          <a:lnTo>
                            <a:pt x="89" y="82"/>
                          </a:lnTo>
                          <a:lnTo>
                            <a:pt x="86" y="82"/>
                          </a:lnTo>
                          <a:lnTo>
                            <a:pt x="84" y="82"/>
                          </a:lnTo>
                          <a:lnTo>
                            <a:pt x="84" y="82"/>
                          </a:lnTo>
                          <a:lnTo>
                            <a:pt x="83" y="84"/>
                          </a:lnTo>
                          <a:lnTo>
                            <a:pt x="82" y="86"/>
                          </a:lnTo>
                          <a:lnTo>
                            <a:pt x="82" y="87"/>
                          </a:lnTo>
                          <a:lnTo>
                            <a:pt x="83" y="90"/>
                          </a:lnTo>
                          <a:lnTo>
                            <a:pt x="83" y="90"/>
                          </a:lnTo>
                          <a:lnTo>
                            <a:pt x="83" y="90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90" y="80"/>
                          </a:lnTo>
                          <a:lnTo>
                            <a:pt x="93" y="83"/>
                          </a:lnTo>
                          <a:lnTo>
                            <a:pt x="93" y="83"/>
                          </a:lnTo>
                          <a:lnTo>
                            <a:pt x="95" y="86"/>
                          </a:lnTo>
                          <a:lnTo>
                            <a:pt x="93" y="89"/>
                          </a:lnTo>
                          <a:lnTo>
                            <a:pt x="93" y="91"/>
                          </a:lnTo>
                          <a:lnTo>
                            <a:pt x="91" y="92"/>
                          </a:lnTo>
                          <a:lnTo>
                            <a:pt x="91" y="92"/>
                          </a:lnTo>
                          <a:lnTo>
                            <a:pt x="89" y="93"/>
                          </a:lnTo>
                          <a:lnTo>
                            <a:pt x="86" y="93"/>
                          </a:lnTo>
                          <a:lnTo>
                            <a:pt x="84" y="92"/>
                          </a:lnTo>
                          <a:lnTo>
                            <a:pt x="82" y="90"/>
                          </a:lnTo>
                          <a:lnTo>
                            <a:pt x="82" y="90"/>
                          </a:lnTo>
                          <a:lnTo>
                            <a:pt x="80" y="87"/>
                          </a:lnTo>
                          <a:lnTo>
                            <a:pt x="80" y="86"/>
                          </a:lnTo>
                          <a:lnTo>
                            <a:pt x="82" y="83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3" y="80"/>
                          </a:lnTo>
                          <a:lnTo>
                            <a:pt x="83" y="80"/>
                          </a:lnTo>
                          <a:lnTo>
                            <a:pt x="80" y="82"/>
                          </a:lnTo>
                          <a:lnTo>
                            <a:pt x="80" y="86"/>
                          </a:lnTo>
                          <a:lnTo>
                            <a:pt x="80" y="87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2" y="91"/>
                          </a:lnTo>
                          <a:lnTo>
                            <a:pt x="82" y="91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8" y="95"/>
                          </a:lnTo>
                          <a:lnTo>
                            <a:pt x="90" y="95"/>
                          </a:lnTo>
                          <a:lnTo>
                            <a:pt x="92" y="93"/>
                          </a:lnTo>
                          <a:lnTo>
                            <a:pt x="92" y="93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3" y="89"/>
                          </a:lnTo>
                          <a:lnTo>
                            <a:pt x="93" y="89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5" y="86"/>
                          </a:lnTo>
                          <a:lnTo>
                            <a:pt x="95" y="82"/>
                          </a:lnTo>
                          <a:lnTo>
                            <a:pt x="95" y="82"/>
                          </a:lnTo>
                          <a:lnTo>
                            <a:pt x="91" y="80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80" y="91"/>
                          </a:moveTo>
                          <a:lnTo>
                            <a:pt x="80" y="91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2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close/>
                          <a:moveTo>
                            <a:pt x="95" y="90"/>
                          </a:move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3" y="89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close/>
                          <a:moveTo>
                            <a:pt x="88" y="164"/>
                          </a:moveTo>
                          <a:lnTo>
                            <a:pt x="88" y="164"/>
                          </a:lnTo>
                          <a:lnTo>
                            <a:pt x="80" y="164"/>
                          </a:lnTo>
                          <a:lnTo>
                            <a:pt x="73" y="163"/>
                          </a:lnTo>
                          <a:lnTo>
                            <a:pt x="65" y="160"/>
                          </a:lnTo>
                          <a:lnTo>
                            <a:pt x="58" y="158"/>
                          </a:lnTo>
                          <a:lnTo>
                            <a:pt x="51" y="155"/>
                          </a:lnTo>
                          <a:lnTo>
                            <a:pt x="45" y="151"/>
                          </a:lnTo>
                          <a:lnTo>
                            <a:pt x="39" y="146"/>
                          </a:lnTo>
                          <a:lnTo>
                            <a:pt x="34" y="141"/>
                          </a:lnTo>
                          <a:lnTo>
                            <a:pt x="29" y="136"/>
                          </a:lnTo>
                          <a:lnTo>
                            <a:pt x="24" y="130"/>
                          </a:lnTo>
                          <a:lnTo>
                            <a:pt x="20" y="124"/>
                          </a:lnTo>
                          <a:lnTo>
                            <a:pt x="17" y="117"/>
                          </a:lnTo>
                          <a:lnTo>
                            <a:pt x="15" y="110"/>
                          </a:lnTo>
                          <a:lnTo>
                            <a:pt x="13" y="103"/>
                          </a:lnTo>
                          <a:lnTo>
                            <a:pt x="11" y="95"/>
                          </a:lnTo>
                          <a:lnTo>
                            <a:pt x="11" y="87"/>
                          </a:lnTo>
                          <a:lnTo>
                            <a:pt x="11" y="87"/>
                          </a:lnTo>
                          <a:lnTo>
                            <a:pt x="11" y="80"/>
                          </a:lnTo>
                          <a:lnTo>
                            <a:pt x="13" y="71"/>
                          </a:lnTo>
                          <a:lnTo>
                            <a:pt x="15" y="65"/>
                          </a:lnTo>
                          <a:lnTo>
                            <a:pt x="17" y="57"/>
                          </a:lnTo>
                          <a:lnTo>
                            <a:pt x="20" y="50"/>
                          </a:lnTo>
                          <a:lnTo>
                            <a:pt x="24" y="44"/>
                          </a:lnTo>
                          <a:lnTo>
                            <a:pt x="29" y="38"/>
                          </a:lnTo>
                          <a:lnTo>
                            <a:pt x="34" y="32"/>
                          </a:lnTo>
                          <a:lnTo>
                            <a:pt x="39" y="28"/>
                          </a:lnTo>
                          <a:lnTo>
                            <a:pt x="45" y="23"/>
                          </a:lnTo>
                          <a:lnTo>
                            <a:pt x="51" y="19"/>
                          </a:lnTo>
                          <a:lnTo>
                            <a:pt x="58" y="16"/>
                          </a:lnTo>
                          <a:lnTo>
                            <a:pt x="65" y="14"/>
                          </a:lnTo>
                          <a:lnTo>
                            <a:pt x="73" y="13"/>
                          </a:lnTo>
                          <a:lnTo>
                            <a:pt x="80" y="12"/>
                          </a:lnTo>
                          <a:lnTo>
                            <a:pt x="88" y="10"/>
                          </a:lnTo>
                          <a:lnTo>
                            <a:pt x="88" y="10"/>
                          </a:lnTo>
                          <a:lnTo>
                            <a:pt x="95" y="12"/>
                          </a:lnTo>
                          <a:lnTo>
                            <a:pt x="103" y="13"/>
                          </a:lnTo>
                          <a:lnTo>
                            <a:pt x="110" y="14"/>
                          </a:lnTo>
                          <a:lnTo>
                            <a:pt x="117" y="16"/>
                          </a:lnTo>
                          <a:lnTo>
                            <a:pt x="124" y="19"/>
                          </a:lnTo>
                          <a:lnTo>
                            <a:pt x="131" y="23"/>
                          </a:lnTo>
                          <a:lnTo>
                            <a:pt x="137" y="28"/>
                          </a:lnTo>
                          <a:lnTo>
                            <a:pt x="142" y="32"/>
                          </a:lnTo>
                          <a:lnTo>
                            <a:pt x="146" y="38"/>
                          </a:lnTo>
                          <a:lnTo>
                            <a:pt x="151" y="44"/>
                          </a:lnTo>
                          <a:lnTo>
                            <a:pt x="156" y="50"/>
                          </a:lnTo>
                          <a:lnTo>
                            <a:pt x="159" y="57"/>
                          </a:lnTo>
                          <a:lnTo>
                            <a:pt x="161" y="65"/>
                          </a:lnTo>
                          <a:lnTo>
                            <a:pt x="163" y="71"/>
                          </a:lnTo>
                          <a:lnTo>
                            <a:pt x="164" y="80"/>
                          </a:lnTo>
                          <a:lnTo>
                            <a:pt x="164" y="87"/>
                          </a:lnTo>
                          <a:lnTo>
                            <a:pt x="164" y="87"/>
                          </a:lnTo>
                          <a:lnTo>
                            <a:pt x="164" y="95"/>
                          </a:lnTo>
                          <a:lnTo>
                            <a:pt x="163" y="103"/>
                          </a:lnTo>
                          <a:lnTo>
                            <a:pt x="161" y="110"/>
                          </a:lnTo>
                          <a:lnTo>
                            <a:pt x="159" y="117"/>
                          </a:lnTo>
                          <a:lnTo>
                            <a:pt x="156" y="124"/>
                          </a:lnTo>
                          <a:lnTo>
                            <a:pt x="151" y="130"/>
                          </a:lnTo>
                          <a:lnTo>
                            <a:pt x="146" y="136"/>
                          </a:lnTo>
                          <a:lnTo>
                            <a:pt x="142" y="141"/>
                          </a:lnTo>
                          <a:lnTo>
                            <a:pt x="137" y="146"/>
                          </a:lnTo>
                          <a:lnTo>
                            <a:pt x="131" y="151"/>
                          </a:lnTo>
                          <a:lnTo>
                            <a:pt x="124" y="155"/>
                          </a:lnTo>
                          <a:lnTo>
                            <a:pt x="117" y="158"/>
                          </a:lnTo>
                          <a:lnTo>
                            <a:pt x="110" y="160"/>
                          </a:lnTo>
                          <a:lnTo>
                            <a:pt x="103" y="163"/>
                          </a:lnTo>
                          <a:lnTo>
                            <a:pt x="95" y="164"/>
                          </a:lnTo>
                          <a:lnTo>
                            <a:pt x="88" y="164"/>
                          </a:lnTo>
                          <a:lnTo>
                            <a:pt x="88" y="164"/>
                          </a:lnTo>
                          <a:lnTo>
                            <a:pt x="88" y="164"/>
                          </a:lnTo>
                          <a:close/>
                          <a:moveTo>
                            <a:pt x="88" y="175"/>
                          </a:moveTo>
                          <a:lnTo>
                            <a:pt x="88" y="175"/>
                          </a:lnTo>
                          <a:lnTo>
                            <a:pt x="97" y="175"/>
                          </a:lnTo>
                          <a:lnTo>
                            <a:pt x="105" y="173"/>
                          </a:lnTo>
                          <a:lnTo>
                            <a:pt x="114" y="171"/>
                          </a:lnTo>
                          <a:lnTo>
                            <a:pt x="122" y="169"/>
                          </a:lnTo>
                          <a:lnTo>
                            <a:pt x="130" y="164"/>
                          </a:lnTo>
                          <a:lnTo>
                            <a:pt x="137" y="160"/>
                          </a:lnTo>
                          <a:lnTo>
                            <a:pt x="144" y="155"/>
                          </a:lnTo>
                          <a:lnTo>
                            <a:pt x="150" y="149"/>
                          </a:lnTo>
                          <a:lnTo>
                            <a:pt x="156" y="142"/>
                          </a:lnTo>
                          <a:lnTo>
                            <a:pt x="161" y="136"/>
                          </a:lnTo>
                          <a:lnTo>
                            <a:pt x="165" y="129"/>
                          </a:lnTo>
                          <a:lnTo>
                            <a:pt x="169" y="122"/>
                          </a:lnTo>
                          <a:lnTo>
                            <a:pt x="172" y="114"/>
                          </a:lnTo>
                          <a:lnTo>
                            <a:pt x="174" y="105"/>
                          </a:lnTo>
                          <a:lnTo>
                            <a:pt x="176" y="96"/>
                          </a:lnTo>
                          <a:lnTo>
                            <a:pt x="176" y="87"/>
                          </a:lnTo>
                          <a:lnTo>
                            <a:pt x="176" y="87"/>
                          </a:lnTo>
                          <a:lnTo>
                            <a:pt x="176" y="78"/>
                          </a:lnTo>
                          <a:lnTo>
                            <a:pt x="174" y="68"/>
                          </a:lnTo>
                          <a:lnTo>
                            <a:pt x="172" y="61"/>
                          </a:lnTo>
                          <a:lnTo>
                            <a:pt x="169" y="53"/>
                          </a:lnTo>
                          <a:lnTo>
                            <a:pt x="165" y="46"/>
                          </a:lnTo>
                          <a:lnTo>
                            <a:pt x="161" y="38"/>
                          </a:lnTo>
                          <a:lnTo>
                            <a:pt x="156" y="31"/>
                          </a:lnTo>
                          <a:lnTo>
                            <a:pt x="150" y="25"/>
                          </a:lnTo>
                          <a:lnTo>
                            <a:pt x="144" y="19"/>
                          </a:lnTo>
                          <a:lnTo>
                            <a:pt x="137" y="14"/>
                          </a:lnTo>
                          <a:lnTo>
                            <a:pt x="130" y="10"/>
                          </a:lnTo>
                          <a:lnTo>
                            <a:pt x="122" y="7"/>
                          </a:lnTo>
                          <a:lnTo>
                            <a:pt x="114" y="4"/>
                          </a:lnTo>
                          <a:lnTo>
                            <a:pt x="105" y="1"/>
                          </a:lnTo>
                          <a:lnTo>
                            <a:pt x="97" y="0"/>
                          </a:lnTo>
                          <a:lnTo>
                            <a:pt x="88" y="0"/>
                          </a:lnTo>
                          <a:lnTo>
                            <a:pt x="88" y="0"/>
                          </a:lnTo>
                          <a:lnTo>
                            <a:pt x="78" y="0"/>
                          </a:lnTo>
                          <a:lnTo>
                            <a:pt x="70" y="1"/>
                          </a:lnTo>
                          <a:lnTo>
                            <a:pt x="62" y="4"/>
                          </a:lnTo>
                          <a:lnTo>
                            <a:pt x="54" y="7"/>
                          </a:lnTo>
                          <a:lnTo>
                            <a:pt x="45" y="10"/>
                          </a:lnTo>
                          <a:lnTo>
                            <a:pt x="38" y="14"/>
                          </a:lnTo>
                          <a:lnTo>
                            <a:pt x="31" y="19"/>
                          </a:lnTo>
                          <a:lnTo>
                            <a:pt x="25" y="25"/>
                          </a:lnTo>
                          <a:lnTo>
                            <a:pt x="19" y="31"/>
                          </a:lnTo>
                          <a:lnTo>
                            <a:pt x="15" y="38"/>
                          </a:lnTo>
                          <a:lnTo>
                            <a:pt x="10" y="46"/>
                          </a:lnTo>
                          <a:lnTo>
                            <a:pt x="7" y="53"/>
                          </a:lnTo>
                          <a:lnTo>
                            <a:pt x="3" y="61"/>
                          </a:lnTo>
                          <a:lnTo>
                            <a:pt x="1" y="68"/>
                          </a:lnTo>
                          <a:lnTo>
                            <a:pt x="0" y="78"/>
                          </a:lnTo>
                          <a:lnTo>
                            <a:pt x="0" y="87"/>
                          </a:lnTo>
                          <a:lnTo>
                            <a:pt x="0" y="87"/>
                          </a:lnTo>
                          <a:lnTo>
                            <a:pt x="0" y="96"/>
                          </a:lnTo>
                          <a:lnTo>
                            <a:pt x="1" y="105"/>
                          </a:lnTo>
                          <a:lnTo>
                            <a:pt x="3" y="114"/>
                          </a:lnTo>
                          <a:lnTo>
                            <a:pt x="7" y="122"/>
                          </a:lnTo>
                          <a:lnTo>
                            <a:pt x="10" y="129"/>
                          </a:lnTo>
                          <a:lnTo>
                            <a:pt x="15" y="136"/>
                          </a:lnTo>
                          <a:lnTo>
                            <a:pt x="19" y="142"/>
                          </a:lnTo>
                          <a:lnTo>
                            <a:pt x="25" y="149"/>
                          </a:lnTo>
                          <a:lnTo>
                            <a:pt x="31" y="155"/>
                          </a:lnTo>
                          <a:lnTo>
                            <a:pt x="38" y="160"/>
                          </a:lnTo>
                          <a:lnTo>
                            <a:pt x="45" y="164"/>
                          </a:lnTo>
                          <a:lnTo>
                            <a:pt x="54" y="169"/>
                          </a:lnTo>
                          <a:lnTo>
                            <a:pt x="62" y="171"/>
                          </a:lnTo>
                          <a:lnTo>
                            <a:pt x="70" y="173"/>
                          </a:lnTo>
                          <a:lnTo>
                            <a:pt x="78" y="175"/>
                          </a:lnTo>
                          <a:lnTo>
                            <a:pt x="88" y="175"/>
                          </a:lnTo>
                          <a:lnTo>
                            <a:pt x="88" y="175"/>
                          </a:lnTo>
                          <a:lnTo>
                            <a:pt x="88" y="175"/>
                          </a:ln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1" name="Freeform 213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945612" y="442420"/>
                      <a:ext cx="190649" cy="202224"/>
                    </a:xfrm>
                    <a:custGeom>
                      <a:avLst/>
                      <a:gdLst>
                        <a:gd name="T0" fmla="*/ 54 w 174"/>
                        <a:gd name="T1" fmla="*/ 35 h 177"/>
                        <a:gd name="T2" fmla="*/ 72 w 174"/>
                        <a:gd name="T3" fmla="*/ 35 h 177"/>
                        <a:gd name="T4" fmla="*/ 72 w 174"/>
                        <a:gd name="T5" fmla="*/ 54 h 177"/>
                        <a:gd name="T6" fmla="*/ 91 w 174"/>
                        <a:gd name="T7" fmla="*/ 54 h 177"/>
                        <a:gd name="T8" fmla="*/ 91 w 174"/>
                        <a:gd name="T9" fmla="*/ 72 h 177"/>
                        <a:gd name="T10" fmla="*/ 72 w 174"/>
                        <a:gd name="T11" fmla="*/ 72 h 177"/>
                        <a:gd name="T12" fmla="*/ 72 w 174"/>
                        <a:gd name="T13" fmla="*/ 92 h 177"/>
                        <a:gd name="T14" fmla="*/ 54 w 174"/>
                        <a:gd name="T15" fmla="*/ 92 h 177"/>
                        <a:gd name="T16" fmla="*/ 54 w 174"/>
                        <a:gd name="T17" fmla="*/ 72 h 177"/>
                        <a:gd name="T18" fmla="*/ 34 w 174"/>
                        <a:gd name="T19" fmla="*/ 72 h 177"/>
                        <a:gd name="T20" fmla="*/ 34 w 174"/>
                        <a:gd name="T21" fmla="*/ 54 h 177"/>
                        <a:gd name="T22" fmla="*/ 54 w 174"/>
                        <a:gd name="T23" fmla="*/ 54 h 177"/>
                        <a:gd name="T24" fmla="*/ 54 w 174"/>
                        <a:gd name="T25" fmla="*/ 35 h 177"/>
                        <a:gd name="T26" fmla="*/ 63 w 174"/>
                        <a:gd name="T27" fmla="*/ 11 h 177"/>
                        <a:gd name="T28" fmla="*/ 10 w 174"/>
                        <a:gd name="T29" fmla="*/ 63 h 177"/>
                        <a:gd name="T30" fmla="*/ 63 w 174"/>
                        <a:gd name="T31" fmla="*/ 116 h 177"/>
                        <a:gd name="T32" fmla="*/ 115 w 174"/>
                        <a:gd name="T33" fmla="*/ 63 h 177"/>
                        <a:gd name="T34" fmla="*/ 63 w 174"/>
                        <a:gd name="T35" fmla="*/ 11 h 177"/>
                        <a:gd name="T36" fmla="*/ 63 w 174"/>
                        <a:gd name="T37" fmla="*/ 0 h 177"/>
                        <a:gd name="T38" fmla="*/ 126 w 174"/>
                        <a:gd name="T39" fmla="*/ 63 h 177"/>
                        <a:gd name="T40" fmla="*/ 113 w 174"/>
                        <a:gd name="T41" fmla="*/ 101 h 177"/>
                        <a:gd name="T42" fmla="*/ 117 w 174"/>
                        <a:gd name="T43" fmla="*/ 105 h 177"/>
                        <a:gd name="T44" fmla="*/ 125 w 174"/>
                        <a:gd name="T45" fmla="*/ 103 h 177"/>
                        <a:gd name="T46" fmla="*/ 170 w 174"/>
                        <a:gd name="T47" fmla="*/ 148 h 177"/>
                        <a:gd name="T48" fmla="*/ 146 w 174"/>
                        <a:gd name="T49" fmla="*/ 172 h 177"/>
                        <a:gd name="T50" fmla="*/ 100 w 174"/>
                        <a:gd name="T51" fmla="*/ 128 h 177"/>
                        <a:gd name="T52" fmla="*/ 103 w 174"/>
                        <a:gd name="T53" fmla="*/ 119 h 177"/>
                        <a:gd name="T54" fmla="*/ 98 w 174"/>
                        <a:gd name="T55" fmla="*/ 116 h 177"/>
                        <a:gd name="T56" fmla="*/ 63 w 174"/>
                        <a:gd name="T57" fmla="*/ 126 h 177"/>
                        <a:gd name="T58" fmla="*/ 0 w 174"/>
                        <a:gd name="T59" fmla="*/ 63 h 177"/>
                        <a:gd name="T60" fmla="*/ 63 w 174"/>
                        <a:gd name="T61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</a:cxnLst>
                      <a:rect l="0" t="0" r="r" b="b"/>
                      <a:pathLst>
                        <a:path w="174" h="177">
                          <a:moveTo>
                            <a:pt x="54" y="35"/>
                          </a:moveTo>
                          <a:cubicBezTo>
                            <a:pt x="72" y="35"/>
                            <a:pt x="72" y="35"/>
                            <a:pt x="72" y="35"/>
                          </a:cubicBezTo>
                          <a:cubicBezTo>
                            <a:pt x="72" y="54"/>
                            <a:pt x="72" y="54"/>
                            <a:pt x="72" y="54"/>
                          </a:cubicBezTo>
                          <a:cubicBezTo>
                            <a:pt x="91" y="54"/>
                            <a:pt x="91" y="54"/>
                            <a:pt x="91" y="54"/>
                          </a:cubicBezTo>
                          <a:cubicBezTo>
                            <a:pt x="91" y="72"/>
                            <a:pt x="91" y="72"/>
                            <a:pt x="91" y="72"/>
                          </a:cubicBezTo>
                          <a:cubicBezTo>
                            <a:pt x="72" y="72"/>
                            <a:pt x="72" y="72"/>
                            <a:pt x="72" y="72"/>
                          </a:cubicBezTo>
                          <a:cubicBezTo>
                            <a:pt x="72" y="92"/>
                            <a:pt x="72" y="92"/>
                            <a:pt x="72" y="92"/>
                          </a:cubicBezTo>
                          <a:cubicBezTo>
                            <a:pt x="54" y="92"/>
                            <a:pt x="54" y="92"/>
                            <a:pt x="54" y="92"/>
                          </a:cubicBezTo>
                          <a:cubicBezTo>
                            <a:pt x="54" y="72"/>
                            <a:pt x="54" y="72"/>
                            <a:pt x="54" y="72"/>
                          </a:cubicBezTo>
                          <a:cubicBezTo>
                            <a:pt x="34" y="72"/>
                            <a:pt x="34" y="72"/>
                            <a:pt x="34" y="72"/>
                          </a:cubicBezTo>
                          <a:cubicBezTo>
                            <a:pt x="34" y="54"/>
                            <a:pt x="34" y="54"/>
                            <a:pt x="34" y="54"/>
                          </a:cubicBezTo>
                          <a:cubicBezTo>
                            <a:pt x="54" y="54"/>
                            <a:pt x="54" y="54"/>
                            <a:pt x="54" y="54"/>
                          </a:cubicBezTo>
                          <a:cubicBezTo>
                            <a:pt x="54" y="35"/>
                            <a:pt x="54" y="35"/>
                            <a:pt x="54" y="35"/>
                          </a:cubicBezTo>
                          <a:close/>
                          <a:moveTo>
                            <a:pt x="63" y="11"/>
                          </a:moveTo>
                          <a:cubicBezTo>
                            <a:pt x="34" y="11"/>
                            <a:pt x="10" y="34"/>
                            <a:pt x="10" y="63"/>
                          </a:cubicBezTo>
                          <a:cubicBezTo>
                            <a:pt x="10" y="92"/>
                            <a:pt x="34" y="116"/>
                            <a:pt x="63" y="116"/>
                          </a:cubicBezTo>
                          <a:cubicBezTo>
                            <a:pt x="92" y="116"/>
                            <a:pt x="115" y="92"/>
                            <a:pt x="115" y="63"/>
                          </a:cubicBezTo>
                          <a:cubicBezTo>
                            <a:pt x="115" y="34"/>
                            <a:pt x="92" y="11"/>
                            <a:pt x="63" y="11"/>
                          </a:cubicBezTo>
                          <a:close/>
                          <a:moveTo>
                            <a:pt x="63" y="0"/>
                          </a:moveTo>
                          <a:cubicBezTo>
                            <a:pt x="98" y="0"/>
                            <a:pt x="126" y="28"/>
                            <a:pt x="126" y="63"/>
                          </a:cubicBezTo>
                          <a:cubicBezTo>
                            <a:pt x="126" y="78"/>
                            <a:pt x="121" y="91"/>
                            <a:pt x="113" y="101"/>
                          </a:cubicBezTo>
                          <a:cubicBezTo>
                            <a:pt x="117" y="105"/>
                            <a:pt x="117" y="105"/>
                            <a:pt x="117" y="105"/>
                          </a:cubicBezTo>
                          <a:cubicBezTo>
                            <a:pt x="125" y="103"/>
                            <a:pt x="125" y="103"/>
                            <a:pt x="125" y="103"/>
                          </a:cubicBezTo>
                          <a:cubicBezTo>
                            <a:pt x="170" y="148"/>
                            <a:pt x="170" y="148"/>
                            <a:pt x="170" y="148"/>
                          </a:cubicBezTo>
                          <a:cubicBezTo>
                            <a:pt x="171" y="155"/>
                            <a:pt x="174" y="177"/>
                            <a:pt x="146" y="172"/>
                          </a:cubicBezTo>
                          <a:cubicBezTo>
                            <a:pt x="100" y="128"/>
                            <a:pt x="100" y="128"/>
                            <a:pt x="100" y="128"/>
                          </a:cubicBezTo>
                          <a:cubicBezTo>
                            <a:pt x="103" y="119"/>
                            <a:pt x="103" y="119"/>
                            <a:pt x="103" y="119"/>
                          </a:cubicBezTo>
                          <a:cubicBezTo>
                            <a:pt x="98" y="116"/>
                            <a:pt x="98" y="116"/>
                            <a:pt x="98" y="116"/>
                          </a:cubicBezTo>
                          <a:cubicBezTo>
                            <a:pt x="88" y="122"/>
                            <a:pt x="76" y="126"/>
                            <a:pt x="63" y="126"/>
                          </a:cubicBezTo>
                          <a:cubicBezTo>
                            <a:pt x="28" y="126"/>
                            <a:pt x="0" y="98"/>
                            <a:pt x="0" y="63"/>
                          </a:cubicBezTo>
                          <a:cubicBezTo>
                            <a:pt x="0" y="28"/>
                            <a:pt x="28" y="0"/>
                            <a:pt x="63" y="0"/>
                          </a:cubicBez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2" name="Freeform 2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561566" y="159385"/>
                      <a:ext cx="110605" cy="208261"/>
                    </a:xfrm>
                    <a:custGeom>
                      <a:avLst/>
                      <a:gdLst>
                        <a:gd name="T0" fmla="*/ 43 w 101"/>
                        <a:gd name="T1" fmla="*/ 165 h 183"/>
                        <a:gd name="T2" fmla="*/ 42 w 101"/>
                        <a:gd name="T3" fmla="*/ 166 h 183"/>
                        <a:gd name="T4" fmla="*/ 42 w 101"/>
                        <a:gd name="T5" fmla="*/ 172 h 183"/>
                        <a:gd name="T6" fmla="*/ 43 w 101"/>
                        <a:gd name="T7" fmla="*/ 174 h 183"/>
                        <a:gd name="T8" fmla="*/ 57 w 101"/>
                        <a:gd name="T9" fmla="*/ 174 h 183"/>
                        <a:gd name="T10" fmla="*/ 59 w 101"/>
                        <a:gd name="T11" fmla="*/ 172 h 183"/>
                        <a:gd name="T12" fmla="*/ 59 w 101"/>
                        <a:gd name="T13" fmla="*/ 166 h 183"/>
                        <a:gd name="T14" fmla="*/ 57 w 101"/>
                        <a:gd name="T15" fmla="*/ 165 h 183"/>
                        <a:gd name="T16" fmla="*/ 43 w 101"/>
                        <a:gd name="T17" fmla="*/ 165 h 183"/>
                        <a:gd name="T18" fmla="*/ 7 w 101"/>
                        <a:gd name="T19" fmla="*/ 11 h 183"/>
                        <a:gd name="T20" fmla="*/ 6 w 101"/>
                        <a:gd name="T21" fmla="*/ 12 h 183"/>
                        <a:gd name="T22" fmla="*/ 6 w 101"/>
                        <a:gd name="T23" fmla="*/ 160 h 183"/>
                        <a:gd name="T24" fmla="*/ 7 w 101"/>
                        <a:gd name="T25" fmla="*/ 161 h 183"/>
                        <a:gd name="T26" fmla="*/ 94 w 101"/>
                        <a:gd name="T27" fmla="*/ 161 h 183"/>
                        <a:gd name="T28" fmla="*/ 95 w 101"/>
                        <a:gd name="T29" fmla="*/ 160 h 183"/>
                        <a:gd name="T30" fmla="*/ 95 w 101"/>
                        <a:gd name="T31" fmla="*/ 12 h 183"/>
                        <a:gd name="T32" fmla="*/ 94 w 101"/>
                        <a:gd name="T33" fmla="*/ 11 h 183"/>
                        <a:gd name="T34" fmla="*/ 7 w 101"/>
                        <a:gd name="T35" fmla="*/ 11 h 183"/>
                        <a:gd name="T36" fmla="*/ 43 w 101"/>
                        <a:gd name="T37" fmla="*/ 4 h 183"/>
                        <a:gd name="T38" fmla="*/ 43 w 101"/>
                        <a:gd name="T39" fmla="*/ 5 h 183"/>
                        <a:gd name="T40" fmla="*/ 43 w 101"/>
                        <a:gd name="T41" fmla="*/ 6 h 183"/>
                        <a:gd name="T42" fmla="*/ 43 w 101"/>
                        <a:gd name="T43" fmla="*/ 7 h 183"/>
                        <a:gd name="T44" fmla="*/ 57 w 101"/>
                        <a:gd name="T45" fmla="*/ 7 h 183"/>
                        <a:gd name="T46" fmla="*/ 58 w 101"/>
                        <a:gd name="T47" fmla="*/ 6 h 183"/>
                        <a:gd name="T48" fmla="*/ 58 w 101"/>
                        <a:gd name="T49" fmla="*/ 5 h 183"/>
                        <a:gd name="T50" fmla="*/ 57 w 101"/>
                        <a:gd name="T51" fmla="*/ 4 h 183"/>
                        <a:gd name="T52" fmla="*/ 43 w 101"/>
                        <a:gd name="T53" fmla="*/ 4 h 183"/>
                        <a:gd name="T54" fmla="*/ 81 w 101"/>
                        <a:gd name="T55" fmla="*/ 3 h 183"/>
                        <a:gd name="T56" fmla="*/ 79 w 101"/>
                        <a:gd name="T57" fmla="*/ 5 h 183"/>
                        <a:gd name="T58" fmla="*/ 81 w 101"/>
                        <a:gd name="T59" fmla="*/ 8 h 183"/>
                        <a:gd name="T60" fmla="*/ 84 w 101"/>
                        <a:gd name="T61" fmla="*/ 5 h 183"/>
                        <a:gd name="T62" fmla="*/ 81 w 101"/>
                        <a:gd name="T63" fmla="*/ 3 h 183"/>
                        <a:gd name="T64" fmla="*/ 5 w 101"/>
                        <a:gd name="T65" fmla="*/ 0 h 183"/>
                        <a:gd name="T66" fmla="*/ 95 w 101"/>
                        <a:gd name="T67" fmla="*/ 0 h 183"/>
                        <a:gd name="T68" fmla="*/ 101 w 101"/>
                        <a:gd name="T69" fmla="*/ 5 h 183"/>
                        <a:gd name="T70" fmla="*/ 101 w 101"/>
                        <a:gd name="T71" fmla="*/ 177 h 183"/>
                        <a:gd name="T72" fmla="*/ 95 w 101"/>
                        <a:gd name="T73" fmla="*/ 183 h 183"/>
                        <a:gd name="T74" fmla="*/ 5 w 101"/>
                        <a:gd name="T75" fmla="*/ 183 h 183"/>
                        <a:gd name="T76" fmla="*/ 0 w 101"/>
                        <a:gd name="T77" fmla="*/ 177 h 183"/>
                        <a:gd name="T78" fmla="*/ 0 w 101"/>
                        <a:gd name="T79" fmla="*/ 5 h 183"/>
                        <a:gd name="T80" fmla="*/ 5 w 101"/>
                        <a:gd name="T81" fmla="*/ 0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01" h="183">
                          <a:moveTo>
                            <a:pt x="43" y="165"/>
                          </a:moveTo>
                          <a:cubicBezTo>
                            <a:pt x="42" y="165"/>
                            <a:pt x="42" y="166"/>
                            <a:pt x="42" y="166"/>
                          </a:cubicBezTo>
                          <a:cubicBezTo>
                            <a:pt x="42" y="172"/>
                            <a:pt x="42" y="172"/>
                            <a:pt x="42" y="172"/>
                          </a:cubicBezTo>
                          <a:cubicBezTo>
                            <a:pt x="42" y="173"/>
                            <a:pt x="42" y="174"/>
                            <a:pt x="43" y="174"/>
                          </a:cubicBezTo>
                          <a:cubicBezTo>
                            <a:pt x="57" y="174"/>
                            <a:pt x="57" y="174"/>
                            <a:pt x="57" y="174"/>
                          </a:cubicBezTo>
                          <a:cubicBezTo>
                            <a:pt x="58" y="174"/>
                            <a:pt x="59" y="173"/>
                            <a:pt x="59" y="172"/>
                          </a:cubicBezTo>
                          <a:cubicBezTo>
                            <a:pt x="59" y="166"/>
                            <a:pt x="59" y="166"/>
                            <a:pt x="59" y="166"/>
                          </a:cubicBezTo>
                          <a:cubicBezTo>
                            <a:pt x="59" y="166"/>
                            <a:pt x="58" y="165"/>
                            <a:pt x="57" y="165"/>
                          </a:cubicBezTo>
                          <a:lnTo>
                            <a:pt x="43" y="165"/>
                          </a:lnTo>
                          <a:close/>
                          <a:moveTo>
                            <a:pt x="7" y="11"/>
                          </a:moveTo>
                          <a:cubicBezTo>
                            <a:pt x="6" y="11"/>
                            <a:pt x="6" y="11"/>
                            <a:pt x="6" y="12"/>
                          </a:cubicBezTo>
                          <a:cubicBezTo>
                            <a:pt x="6" y="160"/>
                            <a:pt x="6" y="160"/>
                            <a:pt x="6" y="160"/>
                          </a:cubicBezTo>
                          <a:cubicBezTo>
                            <a:pt x="6" y="160"/>
                            <a:pt x="6" y="161"/>
                            <a:pt x="7" y="161"/>
                          </a:cubicBezTo>
                          <a:cubicBezTo>
                            <a:pt x="94" y="161"/>
                            <a:pt x="94" y="161"/>
                            <a:pt x="94" y="161"/>
                          </a:cubicBezTo>
                          <a:cubicBezTo>
                            <a:pt x="94" y="161"/>
                            <a:pt x="95" y="160"/>
                            <a:pt x="95" y="160"/>
                          </a:cubicBezTo>
                          <a:cubicBezTo>
                            <a:pt x="95" y="12"/>
                            <a:pt x="95" y="12"/>
                            <a:pt x="95" y="12"/>
                          </a:cubicBezTo>
                          <a:cubicBezTo>
                            <a:pt x="95" y="11"/>
                            <a:pt x="94" y="11"/>
                            <a:pt x="94" y="11"/>
                          </a:cubicBezTo>
                          <a:lnTo>
                            <a:pt x="7" y="11"/>
                          </a:lnTo>
                          <a:close/>
                          <a:moveTo>
                            <a:pt x="43" y="4"/>
                          </a:moveTo>
                          <a:cubicBezTo>
                            <a:pt x="43" y="4"/>
                            <a:pt x="43" y="5"/>
                            <a:pt x="43" y="5"/>
                          </a:cubicBezTo>
                          <a:cubicBezTo>
                            <a:pt x="43" y="6"/>
                            <a:pt x="43" y="6"/>
                            <a:pt x="43" y="6"/>
                          </a:cubicBezTo>
                          <a:cubicBezTo>
                            <a:pt x="43" y="7"/>
                            <a:pt x="43" y="7"/>
                            <a:pt x="43" y="7"/>
                          </a:cubicBezTo>
                          <a:cubicBezTo>
                            <a:pt x="57" y="7"/>
                            <a:pt x="57" y="7"/>
                            <a:pt x="57" y="7"/>
                          </a:cubicBezTo>
                          <a:cubicBezTo>
                            <a:pt x="57" y="7"/>
                            <a:pt x="58" y="7"/>
                            <a:pt x="58" y="6"/>
                          </a:cubicBezTo>
                          <a:cubicBezTo>
                            <a:pt x="58" y="5"/>
                            <a:pt x="58" y="5"/>
                            <a:pt x="58" y="5"/>
                          </a:cubicBezTo>
                          <a:cubicBezTo>
                            <a:pt x="58" y="5"/>
                            <a:pt x="57" y="4"/>
                            <a:pt x="57" y="4"/>
                          </a:cubicBezTo>
                          <a:lnTo>
                            <a:pt x="43" y="4"/>
                          </a:lnTo>
                          <a:close/>
                          <a:moveTo>
                            <a:pt x="81" y="3"/>
                          </a:moveTo>
                          <a:cubicBezTo>
                            <a:pt x="80" y="3"/>
                            <a:pt x="79" y="4"/>
                            <a:pt x="79" y="5"/>
                          </a:cubicBezTo>
                          <a:cubicBezTo>
                            <a:pt x="79" y="7"/>
                            <a:pt x="80" y="8"/>
                            <a:pt x="81" y="8"/>
                          </a:cubicBezTo>
                          <a:cubicBezTo>
                            <a:pt x="83" y="8"/>
                            <a:pt x="84" y="7"/>
                            <a:pt x="84" y="5"/>
                          </a:cubicBezTo>
                          <a:cubicBezTo>
                            <a:pt x="84" y="4"/>
                            <a:pt x="83" y="3"/>
                            <a:pt x="81" y="3"/>
                          </a:cubicBezTo>
                          <a:close/>
                          <a:moveTo>
                            <a:pt x="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8" y="0"/>
                            <a:pt x="101" y="2"/>
                            <a:pt x="101" y="5"/>
                          </a:cubicBezTo>
                          <a:cubicBezTo>
                            <a:pt x="101" y="177"/>
                            <a:pt x="101" y="177"/>
                            <a:pt x="101" y="177"/>
                          </a:cubicBezTo>
                          <a:cubicBezTo>
                            <a:pt x="101" y="180"/>
                            <a:pt x="98" y="183"/>
                            <a:pt x="95" y="183"/>
                          </a:cubicBezTo>
                          <a:cubicBezTo>
                            <a:pt x="5" y="183"/>
                            <a:pt x="5" y="183"/>
                            <a:pt x="5" y="183"/>
                          </a:cubicBezTo>
                          <a:cubicBezTo>
                            <a:pt x="2" y="183"/>
                            <a:pt x="0" y="180"/>
                            <a:pt x="0" y="177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5" y="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3" name="Freeform 21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958300" y="504892"/>
                      <a:ext cx="112061" cy="208261"/>
                    </a:xfrm>
                    <a:custGeom>
                      <a:avLst/>
                      <a:gdLst>
                        <a:gd name="T0" fmla="*/ 51 w 102"/>
                        <a:gd name="T1" fmla="*/ 142 h 183"/>
                        <a:gd name="T2" fmla="*/ 45 w 102"/>
                        <a:gd name="T3" fmla="*/ 148 h 183"/>
                        <a:gd name="T4" fmla="*/ 51 w 102"/>
                        <a:gd name="T5" fmla="*/ 154 h 183"/>
                        <a:gd name="T6" fmla="*/ 57 w 102"/>
                        <a:gd name="T7" fmla="*/ 148 h 183"/>
                        <a:gd name="T8" fmla="*/ 51 w 102"/>
                        <a:gd name="T9" fmla="*/ 142 h 183"/>
                        <a:gd name="T10" fmla="*/ 51 w 102"/>
                        <a:gd name="T11" fmla="*/ 117 h 183"/>
                        <a:gd name="T12" fmla="*/ 40 w 102"/>
                        <a:gd name="T13" fmla="*/ 128 h 183"/>
                        <a:gd name="T14" fmla="*/ 51 w 102"/>
                        <a:gd name="T15" fmla="*/ 139 h 183"/>
                        <a:gd name="T16" fmla="*/ 62 w 102"/>
                        <a:gd name="T17" fmla="*/ 128 h 183"/>
                        <a:gd name="T18" fmla="*/ 51 w 102"/>
                        <a:gd name="T19" fmla="*/ 117 h 183"/>
                        <a:gd name="T20" fmla="*/ 72 w 102"/>
                        <a:gd name="T21" fmla="*/ 52 h 183"/>
                        <a:gd name="T22" fmla="*/ 72 w 102"/>
                        <a:gd name="T23" fmla="*/ 105 h 183"/>
                        <a:gd name="T24" fmla="*/ 78 w 102"/>
                        <a:gd name="T25" fmla="*/ 105 h 183"/>
                        <a:gd name="T26" fmla="*/ 78 w 102"/>
                        <a:gd name="T27" fmla="*/ 52 h 183"/>
                        <a:gd name="T28" fmla="*/ 72 w 102"/>
                        <a:gd name="T29" fmla="*/ 52 h 183"/>
                        <a:gd name="T30" fmla="*/ 56 w 102"/>
                        <a:gd name="T31" fmla="*/ 52 h 183"/>
                        <a:gd name="T32" fmla="*/ 56 w 102"/>
                        <a:gd name="T33" fmla="*/ 105 h 183"/>
                        <a:gd name="T34" fmla="*/ 63 w 102"/>
                        <a:gd name="T35" fmla="*/ 105 h 183"/>
                        <a:gd name="T36" fmla="*/ 63 w 102"/>
                        <a:gd name="T37" fmla="*/ 52 h 183"/>
                        <a:gd name="T38" fmla="*/ 56 w 102"/>
                        <a:gd name="T39" fmla="*/ 52 h 183"/>
                        <a:gd name="T40" fmla="*/ 40 w 102"/>
                        <a:gd name="T41" fmla="*/ 52 h 183"/>
                        <a:gd name="T42" fmla="*/ 40 w 102"/>
                        <a:gd name="T43" fmla="*/ 105 h 183"/>
                        <a:gd name="T44" fmla="*/ 47 w 102"/>
                        <a:gd name="T45" fmla="*/ 105 h 183"/>
                        <a:gd name="T46" fmla="*/ 47 w 102"/>
                        <a:gd name="T47" fmla="*/ 52 h 183"/>
                        <a:gd name="T48" fmla="*/ 40 w 102"/>
                        <a:gd name="T49" fmla="*/ 52 h 183"/>
                        <a:gd name="T50" fmla="*/ 24 w 102"/>
                        <a:gd name="T51" fmla="*/ 52 h 183"/>
                        <a:gd name="T52" fmla="*/ 24 w 102"/>
                        <a:gd name="T53" fmla="*/ 105 h 183"/>
                        <a:gd name="T54" fmla="*/ 31 w 102"/>
                        <a:gd name="T55" fmla="*/ 105 h 183"/>
                        <a:gd name="T56" fmla="*/ 31 w 102"/>
                        <a:gd name="T57" fmla="*/ 52 h 183"/>
                        <a:gd name="T58" fmla="*/ 24 w 102"/>
                        <a:gd name="T59" fmla="*/ 52 h 183"/>
                        <a:gd name="T60" fmla="*/ 13 w 102"/>
                        <a:gd name="T61" fmla="*/ 15 h 183"/>
                        <a:gd name="T62" fmla="*/ 11 w 102"/>
                        <a:gd name="T63" fmla="*/ 17 h 183"/>
                        <a:gd name="T64" fmla="*/ 11 w 102"/>
                        <a:gd name="T65" fmla="*/ 26 h 183"/>
                        <a:gd name="T66" fmla="*/ 13 w 102"/>
                        <a:gd name="T67" fmla="*/ 28 h 183"/>
                        <a:gd name="T68" fmla="*/ 89 w 102"/>
                        <a:gd name="T69" fmla="*/ 28 h 183"/>
                        <a:gd name="T70" fmla="*/ 91 w 102"/>
                        <a:gd name="T71" fmla="*/ 26 h 183"/>
                        <a:gd name="T72" fmla="*/ 91 w 102"/>
                        <a:gd name="T73" fmla="*/ 17 h 183"/>
                        <a:gd name="T74" fmla="*/ 89 w 102"/>
                        <a:gd name="T75" fmla="*/ 15 h 183"/>
                        <a:gd name="T76" fmla="*/ 13 w 102"/>
                        <a:gd name="T77" fmla="*/ 15 h 183"/>
                        <a:gd name="T78" fmla="*/ 5 w 102"/>
                        <a:gd name="T79" fmla="*/ 0 h 183"/>
                        <a:gd name="T80" fmla="*/ 97 w 102"/>
                        <a:gd name="T81" fmla="*/ 0 h 183"/>
                        <a:gd name="T82" fmla="*/ 102 w 102"/>
                        <a:gd name="T83" fmla="*/ 5 h 183"/>
                        <a:gd name="T84" fmla="*/ 102 w 102"/>
                        <a:gd name="T85" fmla="*/ 174 h 183"/>
                        <a:gd name="T86" fmla="*/ 97 w 102"/>
                        <a:gd name="T87" fmla="*/ 180 h 183"/>
                        <a:gd name="T88" fmla="*/ 91 w 102"/>
                        <a:gd name="T89" fmla="*/ 180 h 183"/>
                        <a:gd name="T90" fmla="*/ 91 w 102"/>
                        <a:gd name="T91" fmla="*/ 183 h 183"/>
                        <a:gd name="T92" fmla="*/ 11 w 102"/>
                        <a:gd name="T93" fmla="*/ 183 h 183"/>
                        <a:gd name="T94" fmla="*/ 11 w 102"/>
                        <a:gd name="T95" fmla="*/ 180 h 183"/>
                        <a:gd name="T96" fmla="*/ 5 w 102"/>
                        <a:gd name="T97" fmla="*/ 180 h 183"/>
                        <a:gd name="T98" fmla="*/ 0 w 102"/>
                        <a:gd name="T99" fmla="*/ 174 h 183"/>
                        <a:gd name="T100" fmla="*/ 0 w 102"/>
                        <a:gd name="T101" fmla="*/ 5 h 183"/>
                        <a:gd name="T102" fmla="*/ 5 w 102"/>
                        <a:gd name="T103" fmla="*/ 0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102" h="183">
                          <a:moveTo>
                            <a:pt x="51" y="142"/>
                          </a:moveTo>
                          <a:cubicBezTo>
                            <a:pt x="48" y="142"/>
                            <a:pt x="45" y="145"/>
                            <a:pt x="45" y="148"/>
                          </a:cubicBezTo>
                          <a:cubicBezTo>
                            <a:pt x="45" y="151"/>
                            <a:pt x="48" y="154"/>
                            <a:pt x="51" y="154"/>
                          </a:cubicBezTo>
                          <a:cubicBezTo>
                            <a:pt x="54" y="154"/>
                            <a:pt x="57" y="151"/>
                            <a:pt x="57" y="148"/>
                          </a:cubicBezTo>
                          <a:cubicBezTo>
                            <a:pt x="57" y="145"/>
                            <a:pt x="54" y="142"/>
                            <a:pt x="51" y="142"/>
                          </a:cubicBezTo>
                          <a:close/>
                          <a:moveTo>
                            <a:pt x="51" y="117"/>
                          </a:moveTo>
                          <a:cubicBezTo>
                            <a:pt x="45" y="117"/>
                            <a:pt x="40" y="122"/>
                            <a:pt x="40" y="128"/>
                          </a:cubicBezTo>
                          <a:cubicBezTo>
                            <a:pt x="40" y="134"/>
                            <a:pt x="45" y="139"/>
                            <a:pt x="51" y="139"/>
                          </a:cubicBezTo>
                          <a:cubicBezTo>
                            <a:pt x="57" y="139"/>
                            <a:pt x="62" y="134"/>
                            <a:pt x="62" y="128"/>
                          </a:cubicBezTo>
                          <a:cubicBezTo>
                            <a:pt x="62" y="122"/>
                            <a:pt x="57" y="117"/>
                            <a:pt x="51" y="117"/>
                          </a:cubicBezTo>
                          <a:close/>
                          <a:moveTo>
                            <a:pt x="72" y="52"/>
                          </a:moveTo>
                          <a:cubicBezTo>
                            <a:pt x="72" y="105"/>
                            <a:pt x="72" y="105"/>
                            <a:pt x="72" y="105"/>
                          </a:cubicBezTo>
                          <a:cubicBezTo>
                            <a:pt x="78" y="105"/>
                            <a:pt x="78" y="105"/>
                            <a:pt x="78" y="105"/>
                          </a:cubicBezTo>
                          <a:cubicBezTo>
                            <a:pt x="78" y="52"/>
                            <a:pt x="78" y="52"/>
                            <a:pt x="78" y="52"/>
                          </a:cubicBezTo>
                          <a:cubicBezTo>
                            <a:pt x="72" y="52"/>
                            <a:pt x="72" y="52"/>
                            <a:pt x="72" y="52"/>
                          </a:cubicBezTo>
                          <a:close/>
                          <a:moveTo>
                            <a:pt x="56" y="52"/>
                          </a:moveTo>
                          <a:cubicBezTo>
                            <a:pt x="56" y="105"/>
                            <a:pt x="56" y="105"/>
                            <a:pt x="56" y="105"/>
                          </a:cubicBezTo>
                          <a:cubicBezTo>
                            <a:pt x="63" y="105"/>
                            <a:pt x="63" y="105"/>
                            <a:pt x="63" y="105"/>
                          </a:cubicBezTo>
                          <a:cubicBezTo>
                            <a:pt x="63" y="52"/>
                            <a:pt x="63" y="52"/>
                            <a:pt x="63" y="52"/>
                          </a:cubicBezTo>
                          <a:cubicBezTo>
                            <a:pt x="56" y="52"/>
                            <a:pt x="56" y="52"/>
                            <a:pt x="56" y="52"/>
                          </a:cubicBezTo>
                          <a:close/>
                          <a:moveTo>
                            <a:pt x="40" y="52"/>
                          </a:moveTo>
                          <a:cubicBezTo>
                            <a:pt x="40" y="105"/>
                            <a:pt x="40" y="105"/>
                            <a:pt x="40" y="105"/>
                          </a:cubicBezTo>
                          <a:cubicBezTo>
                            <a:pt x="47" y="105"/>
                            <a:pt x="47" y="105"/>
                            <a:pt x="47" y="105"/>
                          </a:cubicBezTo>
                          <a:cubicBezTo>
                            <a:pt x="47" y="52"/>
                            <a:pt x="47" y="52"/>
                            <a:pt x="47" y="52"/>
                          </a:cubicBezTo>
                          <a:cubicBezTo>
                            <a:pt x="40" y="52"/>
                            <a:pt x="40" y="52"/>
                            <a:pt x="40" y="52"/>
                          </a:cubicBezTo>
                          <a:close/>
                          <a:moveTo>
                            <a:pt x="24" y="52"/>
                          </a:moveTo>
                          <a:cubicBezTo>
                            <a:pt x="24" y="105"/>
                            <a:pt x="24" y="105"/>
                            <a:pt x="24" y="105"/>
                          </a:cubicBezTo>
                          <a:cubicBezTo>
                            <a:pt x="31" y="105"/>
                            <a:pt x="31" y="105"/>
                            <a:pt x="31" y="105"/>
                          </a:cubicBezTo>
                          <a:cubicBezTo>
                            <a:pt x="31" y="52"/>
                            <a:pt x="31" y="52"/>
                            <a:pt x="31" y="52"/>
                          </a:cubicBezTo>
                          <a:cubicBezTo>
                            <a:pt x="24" y="52"/>
                            <a:pt x="24" y="52"/>
                            <a:pt x="24" y="52"/>
                          </a:cubicBezTo>
                          <a:close/>
                          <a:moveTo>
                            <a:pt x="13" y="15"/>
                          </a:moveTo>
                          <a:cubicBezTo>
                            <a:pt x="12" y="15"/>
                            <a:pt x="11" y="16"/>
                            <a:pt x="11" y="17"/>
                          </a:cubicBezTo>
                          <a:cubicBezTo>
                            <a:pt x="11" y="26"/>
                            <a:pt x="11" y="26"/>
                            <a:pt x="11" y="26"/>
                          </a:cubicBezTo>
                          <a:cubicBezTo>
                            <a:pt x="11" y="27"/>
                            <a:pt x="12" y="28"/>
                            <a:pt x="13" y="28"/>
                          </a:cubicBezTo>
                          <a:cubicBezTo>
                            <a:pt x="89" y="28"/>
                            <a:pt x="89" y="28"/>
                            <a:pt x="89" y="28"/>
                          </a:cubicBezTo>
                          <a:cubicBezTo>
                            <a:pt x="90" y="28"/>
                            <a:pt x="91" y="27"/>
                            <a:pt x="91" y="26"/>
                          </a:cubicBezTo>
                          <a:cubicBezTo>
                            <a:pt x="91" y="17"/>
                            <a:pt x="91" y="17"/>
                            <a:pt x="91" y="17"/>
                          </a:cubicBezTo>
                          <a:cubicBezTo>
                            <a:pt x="91" y="16"/>
                            <a:pt x="90" y="15"/>
                            <a:pt x="89" y="15"/>
                          </a:cubicBezTo>
                          <a:lnTo>
                            <a:pt x="13" y="15"/>
                          </a:lnTo>
                          <a:close/>
                          <a:moveTo>
                            <a:pt x="5" y="0"/>
                          </a:moveTo>
                          <a:cubicBezTo>
                            <a:pt x="97" y="0"/>
                            <a:pt x="97" y="0"/>
                            <a:pt x="97" y="0"/>
                          </a:cubicBezTo>
                          <a:cubicBezTo>
                            <a:pt x="100" y="0"/>
                            <a:pt x="102" y="3"/>
                            <a:pt x="102" y="5"/>
                          </a:cubicBezTo>
                          <a:cubicBezTo>
                            <a:pt x="102" y="174"/>
                            <a:pt x="102" y="174"/>
                            <a:pt x="102" y="174"/>
                          </a:cubicBezTo>
                          <a:cubicBezTo>
                            <a:pt x="102" y="177"/>
                            <a:pt x="100" y="180"/>
                            <a:pt x="97" y="180"/>
                          </a:cubicBezTo>
                          <a:cubicBezTo>
                            <a:pt x="91" y="180"/>
                            <a:pt x="91" y="180"/>
                            <a:pt x="91" y="180"/>
                          </a:cubicBezTo>
                          <a:cubicBezTo>
                            <a:pt x="91" y="183"/>
                            <a:pt x="91" y="183"/>
                            <a:pt x="91" y="183"/>
                          </a:cubicBezTo>
                          <a:cubicBezTo>
                            <a:pt x="11" y="183"/>
                            <a:pt x="11" y="183"/>
                            <a:pt x="11" y="183"/>
                          </a:cubicBezTo>
                          <a:cubicBezTo>
                            <a:pt x="11" y="180"/>
                            <a:pt x="11" y="180"/>
                            <a:pt x="11" y="180"/>
                          </a:cubicBezTo>
                          <a:cubicBezTo>
                            <a:pt x="5" y="180"/>
                            <a:pt x="5" y="180"/>
                            <a:pt x="5" y="180"/>
                          </a:cubicBezTo>
                          <a:cubicBezTo>
                            <a:pt x="2" y="180"/>
                            <a:pt x="0" y="177"/>
                            <a:pt x="0" y="174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3"/>
                            <a:pt x="2" y="0"/>
                            <a:pt x="5" y="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4" name="Freeform 216"/>
                    <p:cNvSpPr>
                      <a:spLocks noEditPoints="1"/>
                    </p:cNvSpPr>
                    <p:nvPr/>
                  </p:nvSpPr>
                  <p:spPr bwMode="auto">
                    <a:xfrm flipH="1">
                      <a:off x="11096289" y="1199709"/>
                      <a:ext cx="176096" cy="264099"/>
                    </a:xfrm>
                    <a:custGeom>
                      <a:avLst/>
                      <a:gdLst>
                        <a:gd name="T0" fmla="*/ 112 w 160"/>
                        <a:gd name="T1" fmla="*/ 211 h 232"/>
                        <a:gd name="T2" fmla="*/ 99 w 160"/>
                        <a:gd name="T3" fmla="*/ 202 h 232"/>
                        <a:gd name="T4" fmla="*/ 93 w 160"/>
                        <a:gd name="T5" fmla="*/ 215 h 232"/>
                        <a:gd name="T6" fmla="*/ 110 w 160"/>
                        <a:gd name="T7" fmla="*/ 196 h 232"/>
                        <a:gd name="T8" fmla="*/ 119 w 160"/>
                        <a:gd name="T9" fmla="*/ 202 h 232"/>
                        <a:gd name="T10" fmla="*/ 107 w 160"/>
                        <a:gd name="T11" fmla="*/ 208 h 232"/>
                        <a:gd name="T12" fmla="*/ 108 w 160"/>
                        <a:gd name="T13" fmla="*/ 194 h 232"/>
                        <a:gd name="T14" fmla="*/ 119 w 160"/>
                        <a:gd name="T15" fmla="*/ 198 h 232"/>
                        <a:gd name="T16" fmla="*/ 114 w 160"/>
                        <a:gd name="T17" fmla="*/ 192 h 232"/>
                        <a:gd name="T18" fmla="*/ 105 w 160"/>
                        <a:gd name="T19" fmla="*/ 186 h 232"/>
                        <a:gd name="T20" fmla="*/ 107 w 160"/>
                        <a:gd name="T21" fmla="*/ 192 h 232"/>
                        <a:gd name="T22" fmla="*/ 105 w 160"/>
                        <a:gd name="T23" fmla="*/ 186 h 232"/>
                        <a:gd name="T24" fmla="*/ 114 w 160"/>
                        <a:gd name="T25" fmla="*/ 184 h 232"/>
                        <a:gd name="T26" fmla="*/ 111 w 160"/>
                        <a:gd name="T27" fmla="*/ 189 h 232"/>
                        <a:gd name="T28" fmla="*/ 108 w 160"/>
                        <a:gd name="T29" fmla="*/ 184 h 232"/>
                        <a:gd name="T30" fmla="*/ 112 w 160"/>
                        <a:gd name="T31" fmla="*/ 178 h 232"/>
                        <a:gd name="T32" fmla="*/ 66 w 160"/>
                        <a:gd name="T33" fmla="*/ 79 h 232"/>
                        <a:gd name="T34" fmla="*/ 76 w 160"/>
                        <a:gd name="T35" fmla="*/ 74 h 232"/>
                        <a:gd name="T36" fmla="*/ 82 w 160"/>
                        <a:gd name="T37" fmla="*/ 177 h 232"/>
                        <a:gd name="T38" fmla="*/ 105 w 160"/>
                        <a:gd name="T39" fmla="*/ 180 h 232"/>
                        <a:gd name="T40" fmla="*/ 98 w 160"/>
                        <a:gd name="T41" fmla="*/ 196 h 232"/>
                        <a:gd name="T42" fmla="*/ 95 w 160"/>
                        <a:gd name="T43" fmla="*/ 201 h 232"/>
                        <a:gd name="T44" fmla="*/ 86 w 160"/>
                        <a:gd name="T45" fmla="*/ 216 h 232"/>
                        <a:gd name="T46" fmla="*/ 86 w 160"/>
                        <a:gd name="T47" fmla="*/ 221 h 232"/>
                        <a:gd name="T48" fmla="*/ 86 w 160"/>
                        <a:gd name="T49" fmla="*/ 227 h 232"/>
                        <a:gd name="T50" fmla="*/ 91 w 160"/>
                        <a:gd name="T51" fmla="*/ 222 h 232"/>
                        <a:gd name="T52" fmla="*/ 92 w 160"/>
                        <a:gd name="T53" fmla="*/ 217 h 232"/>
                        <a:gd name="T54" fmla="*/ 111 w 160"/>
                        <a:gd name="T55" fmla="*/ 214 h 232"/>
                        <a:gd name="T56" fmla="*/ 124 w 160"/>
                        <a:gd name="T57" fmla="*/ 221 h 232"/>
                        <a:gd name="T58" fmla="*/ 125 w 160"/>
                        <a:gd name="T59" fmla="*/ 225 h 232"/>
                        <a:gd name="T60" fmla="*/ 123 w 160"/>
                        <a:gd name="T61" fmla="*/ 230 h 232"/>
                        <a:gd name="T62" fmla="*/ 129 w 160"/>
                        <a:gd name="T63" fmla="*/ 231 h 232"/>
                        <a:gd name="T64" fmla="*/ 128 w 160"/>
                        <a:gd name="T65" fmla="*/ 225 h 232"/>
                        <a:gd name="T66" fmla="*/ 127 w 160"/>
                        <a:gd name="T67" fmla="*/ 217 h 232"/>
                        <a:gd name="T68" fmla="*/ 126 w 160"/>
                        <a:gd name="T69" fmla="*/ 201 h 232"/>
                        <a:gd name="T70" fmla="*/ 120 w 160"/>
                        <a:gd name="T71" fmla="*/ 187 h 232"/>
                        <a:gd name="T72" fmla="*/ 117 w 160"/>
                        <a:gd name="T73" fmla="*/ 177 h 232"/>
                        <a:gd name="T74" fmla="*/ 125 w 160"/>
                        <a:gd name="T75" fmla="*/ 173 h 232"/>
                        <a:gd name="T76" fmla="*/ 155 w 160"/>
                        <a:gd name="T77" fmla="*/ 80 h 232"/>
                        <a:gd name="T78" fmla="*/ 66 w 160"/>
                        <a:gd name="T79" fmla="*/ 78 h 232"/>
                        <a:gd name="T80" fmla="*/ 66 w 160"/>
                        <a:gd name="T81" fmla="*/ 43 h 232"/>
                        <a:gd name="T82" fmla="*/ 48 w 160"/>
                        <a:gd name="T83" fmla="*/ 61 h 232"/>
                        <a:gd name="T84" fmla="*/ 66 w 160"/>
                        <a:gd name="T85" fmla="*/ 43 h 232"/>
                        <a:gd name="T86" fmla="*/ 22 w 160"/>
                        <a:gd name="T87" fmla="*/ 58 h 232"/>
                        <a:gd name="T88" fmla="*/ 62 w 160"/>
                        <a:gd name="T89" fmla="*/ 33 h 232"/>
                        <a:gd name="T90" fmla="*/ 54 w 160"/>
                        <a:gd name="T91" fmla="*/ 0 h 232"/>
                        <a:gd name="T92" fmla="*/ 13 w 160"/>
                        <a:gd name="T93" fmla="*/ 49 h 232"/>
                        <a:gd name="T94" fmla="*/ 59 w 160"/>
                        <a:gd name="T95" fmla="*/ 1 h 2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160" h="232">
                          <a:moveTo>
                            <a:pt x="120" y="204"/>
                          </a:moveTo>
                          <a:cubicBezTo>
                            <a:pt x="123" y="218"/>
                            <a:pt x="123" y="218"/>
                            <a:pt x="123" y="218"/>
                          </a:cubicBezTo>
                          <a:cubicBezTo>
                            <a:pt x="112" y="211"/>
                            <a:pt x="112" y="211"/>
                            <a:pt x="112" y="211"/>
                          </a:cubicBezTo>
                          <a:cubicBezTo>
                            <a:pt x="112" y="210"/>
                            <a:pt x="112" y="210"/>
                            <a:pt x="112" y="210"/>
                          </a:cubicBezTo>
                          <a:cubicBezTo>
                            <a:pt x="120" y="204"/>
                            <a:pt x="120" y="204"/>
                            <a:pt x="120" y="204"/>
                          </a:cubicBezTo>
                          <a:close/>
                          <a:moveTo>
                            <a:pt x="99" y="202"/>
                          </a:moveTo>
                          <a:cubicBezTo>
                            <a:pt x="106" y="210"/>
                            <a:pt x="106" y="210"/>
                            <a:pt x="106" y="210"/>
                          </a:cubicBezTo>
                          <a:cubicBezTo>
                            <a:pt x="106" y="210"/>
                            <a:pt x="106" y="210"/>
                            <a:pt x="106" y="210"/>
                          </a:cubicBezTo>
                          <a:cubicBezTo>
                            <a:pt x="93" y="215"/>
                            <a:pt x="93" y="215"/>
                            <a:pt x="93" y="215"/>
                          </a:cubicBezTo>
                          <a:cubicBezTo>
                            <a:pt x="99" y="202"/>
                            <a:pt x="99" y="202"/>
                            <a:pt x="99" y="202"/>
                          </a:cubicBezTo>
                          <a:close/>
                          <a:moveTo>
                            <a:pt x="108" y="194"/>
                          </a:moveTo>
                          <a:cubicBezTo>
                            <a:pt x="108" y="195"/>
                            <a:pt x="109" y="196"/>
                            <a:pt x="110" y="196"/>
                          </a:cubicBezTo>
                          <a:cubicBezTo>
                            <a:pt x="111" y="196"/>
                            <a:pt x="112" y="195"/>
                            <a:pt x="112" y="195"/>
                          </a:cubicBezTo>
                          <a:cubicBezTo>
                            <a:pt x="119" y="202"/>
                            <a:pt x="119" y="202"/>
                            <a:pt x="119" y="202"/>
                          </a:cubicBezTo>
                          <a:cubicBezTo>
                            <a:pt x="119" y="202"/>
                            <a:pt x="119" y="202"/>
                            <a:pt x="119" y="202"/>
                          </a:cubicBezTo>
                          <a:cubicBezTo>
                            <a:pt x="111" y="209"/>
                            <a:pt x="111" y="209"/>
                            <a:pt x="111" y="209"/>
                          </a:cubicBezTo>
                          <a:cubicBezTo>
                            <a:pt x="110" y="208"/>
                            <a:pt x="110" y="208"/>
                            <a:pt x="109" y="208"/>
                          </a:cubicBezTo>
                          <a:cubicBezTo>
                            <a:pt x="108" y="208"/>
                            <a:pt x="108" y="208"/>
                            <a:pt x="107" y="208"/>
                          </a:cubicBezTo>
                          <a:cubicBezTo>
                            <a:pt x="100" y="200"/>
                            <a:pt x="100" y="200"/>
                            <a:pt x="100" y="200"/>
                          </a:cubicBezTo>
                          <a:cubicBezTo>
                            <a:pt x="100" y="200"/>
                            <a:pt x="100" y="200"/>
                            <a:pt x="100" y="200"/>
                          </a:cubicBezTo>
                          <a:lnTo>
                            <a:pt x="108" y="194"/>
                          </a:lnTo>
                          <a:close/>
                          <a:moveTo>
                            <a:pt x="116" y="188"/>
                          </a:moveTo>
                          <a:cubicBezTo>
                            <a:pt x="117" y="188"/>
                            <a:pt x="117" y="188"/>
                            <a:pt x="117" y="188"/>
                          </a:cubicBezTo>
                          <a:cubicBezTo>
                            <a:pt x="119" y="198"/>
                            <a:pt x="119" y="198"/>
                            <a:pt x="119" y="198"/>
                          </a:cubicBezTo>
                          <a:cubicBezTo>
                            <a:pt x="113" y="193"/>
                            <a:pt x="113" y="193"/>
                            <a:pt x="113" y="193"/>
                          </a:cubicBezTo>
                          <a:cubicBezTo>
                            <a:pt x="114" y="193"/>
                            <a:pt x="114" y="193"/>
                            <a:pt x="114" y="193"/>
                          </a:cubicBezTo>
                          <a:cubicBezTo>
                            <a:pt x="114" y="192"/>
                            <a:pt x="114" y="192"/>
                            <a:pt x="114" y="192"/>
                          </a:cubicBezTo>
                          <a:cubicBezTo>
                            <a:pt x="114" y="192"/>
                            <a:pt x="113" y="191"/>
                            <a:pt x="113" y="191"/>
                          </a:cubicBezTo>
                          <a:lnTo>
                            <a:pt x="116" y="188"/>
                          </a:lnTo>
                          <a:close/>
                          <a:moveTo>
                            <a:pt x="105" y="186"/>
                          </a:moveTo>
                          <a:cubicBezTo>
                            <a:pt x="108" y="190"/>
                            <a:pt x="108" y="190"/>
                            <a:pt x="108" y="190"/>
                          </a:cubicBezTo>
                          <a:cubicBezTo>
                            <a:pt x="107" y="191"/>
                            <a:pt x="107" y="191"/>
                            <a:pt x="107" y="192"/>
                          </a:cubicBezTo>
                          <a:cubicBezTo>
                            <a:pt x="107" y="192"/>
                            <a:pt x="107" y="192"/>
                            <a:pt x="107" y="192"/>
                          </a:cubicBezTo>
                          <a:cubicBezTo>
                            <a:pt x="101" y="196"/>
                            <a:pt x="101" y="196"/>
                            <a:pt x="101" y="196"/>
                          </a:cubicBezTo>
                          <a:cubicBezTo>
                            <a:pt x="105" y="187"/>
                            <a:pt x="105" y="187"/>
                            <a:pt x="105" y="187"/>
                          </a:cubicBezTo>
                          <a:cubicBezTo>
                            <a:pt x="105" y="186"/>
                            <a:pt x="105" y="186"/>
                            <a:pt x="105" y="186"/>
                          </a:cubicBezTo>
                          <a:close/>
                          <a:moveTo>
                            <a:pt x="115" y="178"/>
                          </a:moveTo>
                          <a:cubicBezTo>
                            <a:pt x="116" y="182"/>
                            <a:pt x="116" y="182"/>
                            <a:pt x="116" y="182"/>
                          </a:cubicBezTo>
                          <a:cubicBezTo>
                            <a:pt x="115" y="183"/>
                            <a:pt x="115" y="183"/>
                            <a:pt x="114" y="184"/>
                          </a:cubicBezTo>
                          <a:cubicBezTo>
                            <a:pt x="114" y="185"/>
                            <a:pt x="115" y="186"/>
                            <a:pt x="115" y="186"/>
                          </a:cubicBezTo>
                          <a:cubicBezTo>
                            <a:pt x="112" y="189"/>
                            <a:pt x="112" y="189"/>
                            <a:pt x="112" y="189"/>
                          </a:cubicBezTo>
                          <a:cubicBezTo>
                            <a:pt x="111" y="189"/>
                            <a:pt x="111" y="189"/>
                            <a:pt x="111" y="189"/>
                          </a:cubicBezTo>
                          <a:cubicBezTo>
                            <a:pt x="110" y="189"/>
                            <a:pt x="110" y="189"/>
                            <a:pt x="110" y="189"/>
                          </a:cubicBezTo>
                          <a:cubicBezTo>
                            <a:pt x="107" y="185"/>
                            <a:pt x="107" y="185"/>
                            <a:pt x="107" y="185"/>
                          </a:cubicBezTo>
                          <a:cubicBezTo>
                            <a:pt x="108" y="185"/>
                            <a:pt x="108" y="184"/>
                            <a:pt x="108" y="184"/>
                          </a:cubicBezTo>
                          <a:cubicBezTo>
                            <a:pt x="108" y="183"/>
                            <a:pt x="108" y="182"/>
                            <a:pt x="107" y="181"/>
                          </a:cubicBezTo>
                          <a:cubicBezTo>
                            <a:pt x="109" y="177"/>
                            <a:pt x="109" y="177"/>
                            <a:pt x="109" y="177"/>
                          </a:cubicBezTo>
                          <a:cubicBezTo>
                            <a:pt x="110" y="178"/>
                            <a:pt x="111" y="178"/>
                            <a:pt x="112" y="178"/>
                          </a:cubicBezTo>
                          <a:cubicBezTo>
                            <a:pt x="113" y="178"/>
                            <a:pt x="114" y="178"/>
                            <a:pt x="115" y="178"/>
                          </a:cubicBezTo>
                          <a:close/>
                          <a:moveTo>
                            <a:pt x="76" y="74"/>
                          </a:moveTo>
                          <a:cubicBezTo>
                            <a:pt x="74" y="77"/>
                            <a:pt x="71" y="80"/>
                            <a:pt x="66" y="79"/>
                          </a:cubicBezTo>
                          <a:cubicBezTo>
                            <a:pt x="84" y="116"/>
                            <a:pt x="84" y="116"/>
                            <a:pt x="84" y="116"/>
                          </a:cubicBezTo>
                          <a:cubicBezTo>
                            <a:pt x="88" y="114"/>
                            <a:pt x="94" y="110"/>
                            <a:pt x="97" y="108"/>
                          </a:cubicBezTo>
                          <a:cubicBezTo>
                            <a:pt x="91" y="96"/>
                            <a:pt x="83" y="86"/>
                            <a:pt x="76" y="74"/>
                          </a:cubicBezTo>
                          <a:close/>
                          <a:moveTo>
                            <a:pt x="155" y="80"/>
                          </a:moveTo>
                          <a:cubicBezTo>
                            <a:pt x="31" y="148"/>
                            <a:pt x="31" y="148"/>
                            <a:pt x="31" y="148"/>
                          </a:cubicBezTo>
                          <a:cubicBezTo>
                            <a:pt x="42" y="164"/>
                            <a:pt x="60" y="175"/>
                            <a:pt x="82" y="177"/>
                          </a:cubicBezTo>
                          <a:cubicBezTo>
                            <a:pt x="90" y="178"/>
                            <a:pt x="98" y="177"/>
                            <a:pt x="106" y="175"/>
                          </a:cubicBezTo>
                          <a:cubicBezTo>
                            <a:pt x="107" y="176"/>
                            <a:pt x="107" y="176"/>
                            <a:pt x="107" y="176"/>
                          </a:cubicBezTo>
                          <a:cubicBezTo>
                            <a:pt x="105" y="180"/>
                            <a:pt x="105" y="180"/>
                            <a:pt x="105" y="180"/>
                          </a:cubicBezTo>
                          <a:cubicBezTo>
                            <a:pt x="103" y="180"/>
                            <a:pt x="102" y="181"/>
                            <a:pt x="102" y="183"/>
                          </a:cubicBezTo>
                          <a:cubicBezTo>
                            <a:pt x="102" y="184"/>
                            <a:pt x="102" y="185"/>
                            <a:pt x="102" y="186"/>
                          </a:cubicBezTo>
                          <a:cubicBezTo>
                            <a:pt x="98" y="196"/>
                            <a:pt x="98" y="196"/>
                            <a:pt x="98" y="196"/>
                          </a:cubicBezTo>
                          <a:cubicBezTo>
                            <a:pt x="97" y="195"/>
                            <a:pt x="97" y="195"/>
                            <a:pt x="97" y="195"/>
                          </a:cubicBezTo>
                          <a:cubicBezTo>
                            <a:pt x="95" y="195"/>
                            <a:pt x="94" y="197"/>
                            <a:pt x="94" y="198"/>
                          </a:cubicBezTo>
                          <a:cubicBezTo>
                            <a:pt x="94" y="200"/>
                            <a:pt x="94" y="201"/>
                            <a:pt x="95" y="201"/>
                          </a:cubicBezTo>
                          <a:cubicBezTo>
                            <a:pt x="90" y="214"/>
                            <a:pt x="90" y="214"/>
                            <a:pt x="90" y="214"/>
                          </a:cubicBezTo>
                          <a:cubicBezTo>
                            <a:pt x="89" y="213"/>
                            <a:pt x="89" y="213"/>
                            <a:pt x="89" y="213"/>
                          </a:cubicBezTo>
                          <a:cubicBezTo>
                            <a:pt x="87" y="213"/>
                            <a:pt x="86" y="215"/>
                            <a:pt x="86" y="216"/>
                          </a:cubicBezTo>
                          <a:cubicBezTo>
                            <a:pt x="85" y="218"/>
                            <a:pt x="86" y="219"/>
                            <a:pt x="87" y="220"/>
                          </a:cubicBezTo>
                          <a:cubicBezTo>
                            <a:pt x="87" y="221"/>
                            <a:pt x="87" y="221"/>
                            <a:pt x="87" y="221"/>
                          </a:cubicBezTo>
                          <a:cubicBezTo>
                            <a:pt x="86" y="221"/>
                            <a:pt x="86" y="221"/>
                            <a:pt x="86" y="221"/>
                          </a:cubicBezTo>
                          <a:cubicBezTo>
                            <a:pt x="86" y="221"/>
                            <a:pt x="85" y="221"/>
                            <a:pt x="85" y="222"/>
                          </a:cubicBezTo>
                          <a:cubicBezTo>
                            <a:pt x="85" y="226"/>
                            <a:pt x="85" y="226"/>
                            <a:pt x="85" y="226"/>
                          </a:cubicBezTo>
                          <a:cubicBezTo>
                            <a:pt x="85" y="227"/>
                            <a:pt x="85" y="227"/>
                            <a:pt x="86" y="227"/>
                          </a:cubicBezTo>
                          <a:cubicBezTo>
                            <a:pt x="90" y="228"/>
                            <a:pt x="90" y="228"/>
                            <a:pt x="90" y="228"/>
                          </a:cubicBezTo>
                          <a:cubicBezTo>
                            <a:pt x="90" y="228"/>
                            <a:pt x="91" y="227"/>
                            <a:pt x="91" y="227"/>
                          </a:cubicBezTo>
                          <a:cubicBezTo>
                            <a:pt x="91" y="222"/>
                            <a:pt x="91" y="222"/>
                            <a:pt x="91" y="222"/>
                          </a:cubicBezTo>
                          <a:cubicBezTo>
                            <a:pt x="91" y="222"/>
                            <a:pt x="91" y="221"/>
                            <a:pt x="90" y="221"/>
                          </a:cubicBezTo>
                          <a:cubicBezTo>
                            <a:pt x="90" y="221"/>
                            <a:pt x="90" y="221"/>
                            <a:pt x="90" y="221"/>
                          </a:cubicBezTo>
                          <a:cubicBezTo>
                            <a:pt x="92" y="217"/>
                            <a:pt x="92" y="217"/>
                            <a:pt x="92" y="217"/>
                          </a:cubicBezTo>
                          <a:cubicBezTo>
                            <a:pt x="106" y="212"/>
                            <a:pt x="106" y="212"/>
                            <a:pt x="106" y="212"/>
                          </a:cubicBezTo>
                          <a:cubicBezTo>
                            <a:pt x="106" y="214"/>
                            <a:pt x="107" y="214"/>
                            <a:pt x="108" y="214"/>
                          </a:cubicBezTo>
                          <a:cubicBezTo>
                            <a:pt x="109" y="215"/>
                            <a:pt x="110" y="214"/>
                            <a:pt x="111" y="214"/>
                          </a:cubicBezTo>
                          <a:cubicBezTo>
                            <a:pt x="111" y="214"/>
                            <a:pt x="111" y="214"/>
                            <a:pt x="111" y="214"/>
                          </a:cubicBezTo>
                          <a:cubicBezTo>
                            <a:pt x="111" y="213"/>
                            <a:pt x="111" y="213"/>
                            <a:pt x="111" y="213"/>
                          </a:cubicBezTo>
                          <a:cubicBezTo>
                            <a:pt x="124" y="221"/>
                            <a:pt x="124" y="221"/>
                            <a:pt x="124" y="221"/>
                          </a:cubicBezTo>
                          <a:cubicBezTo>
                            <a:pt x="124" y="221"/>
                            <a:pt x="124" y="221"/>
                            <a:pt x="124" y="221"/>
                          </a:cubicBezTo>
                          <a:cubicBezTo>
                            <a:pt x="124" y="221"/>
                            <a:pt x="124" y="221"/>
                            <a:pt x="124" y="222"/>
                          </a:cubicBezTo>
                          <a:cubicBezTo>
                            <a:pt x="125" y="225"/>
                            <a:pt x="125" y="225"/>
                            <a:pt x="125" y="225"/>
                          </a:cubicBezTo>
                          <a:cubicBezTo>
                            <a:pt x="125" y="225"/>
                            <a:pt x="125" y="225"/>
                            <a:pt x="125" y="225"/>
                          </a:cubicBezTo>
                          <a:cubicBezTo>
                            <a:pt x="124" y="225"/>
                            <a:pt x="123" y="225"/>
                            <a:pt x="123" y="226"/>
                          </a:cubicBezTo>
                          <a:cubicBezTo>
                            <a:pt x="123" y="230"/>
                            <a:pt x="123" y="230"/>
                            <a:pt x="123" y="230"/>
                          </a:cubicBezTo>
                          <a:cubicBezTo>
                            <a:pt x="123" y="231"/>
                            <a:pt x="123" y="231"/>
                            <a:pt x="124" y="231"/>
                          </a:cubicBezTo>
                          <a:cubicBezTo>
                            <a:pt x="128" y="231"/>
                            <a:pt x="128" y="231"/>
                            <a:pt x="128" y="231"/>
                          </a:cubicBezTo>
                          <a:cubicBezTo>
                            <a:pt x="128" y="232"/>
                            <a:pt x="129" y="231"/>
                            <a:pt x="129" y="231"/>
                          </a:cubicBezTo>
                          <a:cubicBezTo>
                            <a:pt x="129" y="226"/>
                            <a:pt x="129" y="226"/>
                            <a:pt x="129" y="226"/>
                          </a:cubicBezTo>
                          <a:cubicBezTo>
                            <a:pt x="130" y="226"/>
                            <a:pt x="129" y="225"/>
                            <a:pt x="129" y="225"/>
                          </a:cubicBezTo>
                          <a:cubicBezTo>
                            <a:pt x="128" y="225"/>
                            <a:pt x="128" y="225"/>
                            <a:pt x="128" y="225"/>
                          </a:cubicBezTo>
                          <a:cubicBezTo>
                            <a:pt x="128" y="224"/>
                            <a:pt x="128" y="224"/>
                            <a:pt x="128" y="224"/>
                          </a:cubicBezTo>
                          <a:cubicBezTo>
                            <a:pt x="129" y="223"/>
                            <a:pt x="130" y="222"/>
                            <a:pt x="130" y="221"/>
                          </a:cubicBezTo>
                          <a:cubicBezTo>
                            <a:pt x="130" y="219"/>
                            <a:pt x="129" y="217"/>
                            <a:pt x="127" y="217"/>
                          </a:cubicBezTo>
                          <a:cubicBezTo>
                            <a:pt x="126" y="217"/>
                            <a:pt x="126" y="217"/>
                            <a:pt x="126" y="217"/>
                          </a:cubicBezTo>
                          <a:cubicBezTo>
                            <a:pt x="123" y="204"/>
                            <a:pt x="123" y="204"/>
                            <a:pt x="123" y="204"/>
                          </a:cubicBezTo>
                          <a:cubicBezTo>
                            <a:pt x="125" y="204"/>
                            <a:pt x="125" y="203"/>
                            <a:pt x="126" y="201"/>
                          </a:cubicBezTo>
                          <a:cubicBezTo>
                            <a:pt x="126" y="200"/>
                            <a:pt x="124" y="198"/>
                            <a:pt x="123" y="198"/>
                          </a:cubicBezTo>
                          <a:cubicBezTo>
                            <a:pt x="122" y="198"/>
                            <a:pt x="122" y="198"/>
                            <a:pt x="122" y="198"/>
                          </a:cubicBezTo>
                          <a:cubicBezTo>
                            <a:pt x="120" y="187"/>
                            <a:pt x="120" y="187"/>
                            <a:pt x="120" y="187"/>
                          </a:cubicBezTo>
                          <a:cubicBezTo>
                            <a:pt x="120" y="187"/>
                            <a:pt x="121" y="186"/>
                            <a:pt x="121" y="185"/>
                          </a:cubicBezTo>
                          <a:cubicBezTo>
                            <a:pt x="121" y="183"/>
                            <a:pt x="120" y="182"/>
                            <a:pt x="118" y="182"/>
                          </a:cubicBezTo>
                          <a:cubicBezTo>
                            <a:pt x="117" y="177"/>
                            <a:pt x="117" y="177"/>
                            <a:pt x="117" y="177"/>
                          </a:cubicBezTo>
                          <a:cubicBezTo>
                            <a:pt x="118" y="176"/>
                            <a:pt x="118" y="176"/>
                            <a:pt x="119" y="175"/>
                          </a:cubicBezTo>
                          <a:cubicBezTo>
                            <a:pt x="122" y="175"/>
                            <a:pt x="122" y="175"/>
                            <a:pt x="122" y="175"/>
                          </a:cubicBezTo>
                          <a:cubicBezTo>
                            <a:pt x="123" y="175"/>
                            <a:pt x="125" y="174"/>
                            <a:pt x="125" y="173"/>
                          </a:cubicBezTo>
                          <a:cubicBezTo>
                            <a:pt x="125" y="167"/>
                            <a:pt x="125" y="167"/>
                            <a:pt x="125" y="167"/>
                          </a:cubicBezTo>
                          <a:cubicBezTo>
                            <a:pt x="144" y="155"/>
                            <a:pt x="157" y="136"/>
                            <a:pt x="159" y="113"/>
                          </a:cubicBezTo>
                          <a:cubicBezTo>
                            <a:pt x="160" y="101"/>
                            <a:pt x="159" y="90"/>
                            <a:pt x="155" y="80"/>
                          </a:cubicBezTo>
                          <a:close/>
                          <a:moveTo>
                            <a:pt x="67" y="59"/>
                          </a:moveTo>
                          <a:cubicBezTo>
                            <a:pt x="62" y="59"/>
                            <a:pt x="57" y="63"/>
                            <a:pt x="57" y="68"/>
                          </a:cubicBezTo>
                          <a:cubicBezTo>
                            <a:pt x="56" y="73"/>
                            <a:pt x="60" y="78"/>
                            <a:pt x="66" y="78"/>
                          </a:cubicBezTo>
                          <a:cubicBezTo>
                            <a:pt x="71" y="79"/>
                            <a:pt x="75" y="75"/>
                            <a:pt x="76" y="70"/>
                          </a:cubicBezTo>
                          <a:cubicBezTo>
                            <a:pt x="76" y="64"/>
                            <a:pt x="73" y="60"/>
                            <a:pt x="67" y="59"/>
                          </a:cubicBezTo>
                          <a:close/>
                          <a:moveTo>
                            <a:pt x="66" y="43"/>
                          </a:moveTo>
                          <a:cubicBezTo>
                            <a:pt x="60" y="42"/>
                            <a:pt x="55" y="44"/>
                            <a:pt x="50" y="48"/>
                          </a:cubicBezTo>
                          <a:cubicBezTo>
                            <a:pt x="46" y="51"/>
                            <a:pt x="43" y="56"/>
                            <a:pt x="43" y="62"/>
                          </a:cubicBezTo>
                          <a:cubicBezTo>
                            <a:pt x="48" y="61"/>
                            <a:pt x="48" y="61"/>
                            <a:pt x="48" y="61"/>
                          </a:cubicBezTo>
                          <a:cubicBezTo>
                            <a:pt x="48" y="58"/>
                            <a:pt x="50" y="54"/>
                            <a:pt x="53" y="51"/>
                          </a:cubicBezTo>
                          <a:cubicBezTo>
                            <a:pt x="57" y="49"/>
                            <a:pt x="61" y="47"/>
                            <a:pt x="64" y="48"/>
                          </a:cubicBezTo>
                          <a:lnTo>
                            <a:pt x="66" y="43"/>
                          </a:lnTo>
                          <a:close/>
                          <a:moveTo>
                            <a:pt x="60" y="23"/>
                          </a:moveTo>
                          <a:cubicBezTo>
                            <a:pt x="51" y="23"/>
                            <a:pt x="42" y="26"/>
                            <a:pt x="35" y="32"/>
                          </a:cubicBezTo>
                          <a:cubicBezTo>
                            <a:pt x="28" y="38"/>
                            <a:pt x="23" y="48"/>
                            <a:pt x="22" y="58"/>
                          </a:cubicBezTo>
                          <a:cubicBezTo>
                            <a:pt x="31" y="58"/>
                            <a:pt x="31" y="58"/>
                            <a:pt x="31" y="58"/>
                          </a:cubicBezTo>
                          <a:cubicBezTo>
                            <a:pt x="32" y="51"/>
                            <a:pt x="35" y="44"/>
                            <a:pt x="41" y="39"/>
                          </a:cubicBezTo>
                          <a:cubicBezTo>
                            <a:pt x="47" y="34"/>
                            <a:pt x="55" y="32"/>
                            <a:pt x="62" y="33"/>
                          </a:cubicBezTo>
                          <a:cubicBezTo>
                            <a:pt x="64" y="24"/>
                            <a:pt x="64" y="24"/>
                            <a:pt x="64" y="24"/>
                          </a:cubicBezTo>
                          <a:cubicBezTo>
                            <a:pt x="63" y="24"/>
                            <a:pt x="61" y="24"/>
                            <a:pt x="60" y="23"/>
                          </a:cubicBezTo>
                          <a:close/>
                          <a:moveTo>
                            <a:pt x="54" y="0"/>
                          </a:moveTo>
                          <a:cubicBezTo>
                            <a:pt x="42" y="0"/>
                            <a:pt x="29" y="4"/>
                            <a:pt x="19" y="12"/>
                          </a:cubicBezTo>
                          <a:cubicBezTo>
                            <a:pt x="8" y="22"/>
                            <a:pt x="1" y="35"/>
                            <a:pt x="0" y="49"/>
                          </a:cubicBezTo>
                          <a:cubicBezTo>
                            <a:pt x="13" y="49"/>
                            <a:pt x="13" y="49"/>
                            <a:pt x="13" y="49"/>
                          </a:cubicBezTo>
                          <a:cubicBezTo>
                            <a:pt x="14" y="39"/>
                            <a:pt x="19" y="29"/>
                            <a:pt x="27" y="22"/>
                          </a:cubicBezTo>
                          <a:cubicBezTo>
                            <a:pt x="35" y="15"/>
                            <a:pt x="46" y="12"/>
                            <a:pt x="56" y="14"/>
                          </a:cubicBezTo>
                          <a:cubicBezTo>
                            <a:pt x="59" y="1"/>
                            <a:pt x="59" y="1"/>
                            <a:pt x="59" y="1"/>
                          </a:cubicBezTo>
                          <a:cubicBezTo>
                            <a:pt x="58" y="1"/>
                            <a:pt x="56" y="1"/>
                            <a:pt x="54" y="0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5" name="Freeform 217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267838" y="-133605"/>
                      <a:ext cx="232853" cy="1574030"/>
                    </a:xfrm>
                    <a:custGeom>
                      <a:avLst/>
                      <a:gdLst>
                        <a:gd name="T0" fmla="*/ 0 w 212"/>
                        <a:gd name="T1" fmla="*/ 1384 h 1384"/>
                        <a:gd name="T2" fmla="*/ 0 w 212"/>
                        <a:gd name="T3" fmla="*/ 1350 h 1384"/>
                        <a:gd name="T4" fmla="*/ 106 w 212"/>
                        <a:gd name="T5" fmla="*/ 1350 h 1384"/>
                        <a:gd name="T6" fmla="*/ 160 w 212"/>
                        <a:gd name="T7" fmla="*/ 1331 h 1384"/>
                        <a:gd name="T8" fmla="*/ 173 w 212"/>
                        <a:gd name="T9" fmla="*/ 1245 h 1384"/>
                        <a:gd name="T10" fmla="*/ 173 w 212"/>
                        <a:gd name="T11" fmla="*/ 1243 h 1384"/>
                        <a:gd name="T12" fmla="*/ 173 w 212"/>
                        <a:gd name="T13" fmla="*/ 0 h 1384"/>
                        <a:gd name="T14" fmla="*/ 207 w 212"/>
                        <a:gd name="T15" fmla="*/ 0 h 1384"/>
                        <a:gd name="T16" fmla="*/ 207 w 212"/>
                        <a:gd name="T17" fmla="*/ 1242 h 1384"/>
                        <a:gd name="T18" fmla="*/ 186 w 212"/>
                        <a:gd name="T19" fmla="*/ 1354 h 1384"/>
                        <a:gd name="T20" fmla="*/ 106 w 212"/>
                        <a:gd name="T21" fmla="*/ 1384 h 1384"/>
                        <a:gd name="T22" fmla="*/ 0 w 212"/>
                        <a:gd name="T23" fmla="*/ 1384 h 13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212" h="1384">
                          <a:moveTo>
                            <a:pt x="0" y="1384"/>
                          </a:moveTo>
                          <a:cubicBezTo>
                            <a:pt x="0" y="1350"/>
                            <a:pt x="0" y="1350"/>
                            <a:pt x="0" y="1350"/>
                          </a:cubicBezTo>
                          <a:cubicBezTo>
                            <a:pt x="106" y="1350"/>
                            <a:pt x="106" y="1350"/>
                            <a:pt x="106" y="1350"/>
                          </a:cubicBezTo>
                          <a:cubicBezTo>
                            <a:pt x="132" y="1349"/>
                            <a:pt x="150" y="1343"/>
                            <a:pt x="160" y="1331"/>
                          </a:cubicBezTo>
                          <a:cubicBezTo>
                            <a:pt x="178" y="1312"/>
                            <a:pt x="177" y="1277"/>
                            <a:pt x="173" y="1245"/>
                          </a:cubicBezTo>
                          <a:cubicBezTo>
                            <a:pt x="173" y="1244"/>
                            <a:pt x="173" y="1244"/>
                            <a:pt x="173" y="1243"/>
                          </a:cubicBezTo>
                          <a:cubicBezTo>
                            <a:pt x="173" y="0"/>
                            <a:pt x="173" y="0"/>
                            <a:pt x="173" y="0"/>
                          </a:cubicBezTo>
                          <a:cubicBezTo>
                            <a:pt x="207" y="0"/>
                            <a:pt x="207" y="0"/>
                            <a:pt x="207" y="0"/>
                          </a:cubicBezTo>
                          <a:cubicBezTo>
                            <a:pt x="207" y="1242"/>
                            <a:pt x="207" y="1242"/>
                            <a:pt x="207" y="1242"/>
                          </a:cubicBezTo>
                          <a:cubicBezTo>
                            <a:pt x="211" y="1281"/>
                            <a:pt x="212" y="1325"/>
                            <a:pt x="186" y="1354"/>
                          </a:cubicBezTo>
                          <a:cubicBezTo>
                            <a:pt x="169" y="1373"/>
                            <a:pt x="142" y="1383"/>
                            <a:pt x="106" y="1384"/>
                          </a:cubicBezTo>
                          <a:lnTo>
                            <a:pt x="0" y="1384"/>
                          </a:lnTo>
                          <a:close/>
                        </a:path>
                      </a:pathLst>
                    </a:cu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6" name="Rectangle 218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574637" y="446081"/>
                      <a:ext cx="82954" cy="37728"/>
                    </a:xfrm>
                    <a:prstGeom prst="rect">
                      <a:avLst/>
                    </a:pr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7" name="Freeform 21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79003" y="347175"/>
                      <a:ext cx="74222" cy="116203"/>
                    </a:xfrm>
                    <a:custGeom>
                      <a:avLst/>
                      <a:gdLst>
                        <a:gd name="T0" fmla="*/ 51 w 51"/>
                        <a:gd name="T1" fmla="*/ 77 h 77"/>
                        <a:gd name="T2" fmla="*/ 0 w 51"/>
                        <a:gd name="T3" fmla="*/ 38 h 77"/>
                        <a:gd name="T4" fmla="*/ 51 w 51"/>
                        <a:gd name="T5" fmla="*/ 0 h 77"/>
                        <a:gd name="T6" fmla="*/ 51 w 51"/>
                        <a:gd name="T7" fmla="*/ 77 h 77"/>
                        <a:gd name="T8" fmla="*/ 51 w 51"/>
                        <a:gd name="T9" fmla="*/ 77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1" h="77">
                          <a:moveTo>
                            <a:pt x="51" y="77"/>
                          </a:moveTo>
                          <a:lnTo>
                            <a:pt x="0" y="38"/>
                          </a:lnTo>
                          <a:lnTo>
                            <a:pt x="51" y="0"/>
                          </a:lnTo>
                          <a:lnTo>
                            <a:pt x="51" y="77"/>
                          </a:lnTo>
                          <a:lnTo>
                            <a:pt x="51" y="77"/>
                          </a:lnTo>
                          <a:close/>
                        </a:path>
                      </a:pathLst>
                    </a:cu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8" name="Freeform 22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175950" y="991164"/>
                      <a:ext cx="854280" cy="1136380"/>
                    </a:xfrm>
                    <a:custGeom>
                      <a:avLst/>
                      <a:gdLst>
                        <a:gd name="T0" fmla="*/ 779 w 779"/>
                        <a:gd name="T1" fmla="*/ 999 h 999"/>
                        <a:gd name="T2" fmla="*/ 354 w 779"/>
                        <a:gd name="T3" fmla="*/ 999 h 999"/>
                        <a:gd name="T4" fmla="*/ 63 w 779"/>
                        <a:gd name="T5" fmla="*/ 980 h 999"/>
                        <a:gd name="T6" fmla="*/ 2 w 779"/>
                        <a:gd name="T7" fmla="*/ 874 h 999"/>
                        <a:gd name="T8" fmla="*/ 0 w 779"/>
                        <a:gd name="T9" fmla="*/ 849 h 999"/>
                        <a:gd name="T10" fmla="*/ 0 w 779"/>
                        <a:gd name="T11" fmla="*/ 847 h 999"/>
                        <a:gd name="T12" fmla="*/ 0 w 779"/>
                        <a:gd name="T13" fmla="*/ 0 h 999"/>
                        <a:gd name="T14" fmla="*/ 34 w 779"/>
                        <a:gd name="T15" fmla="*/ 0 h 999"/>
                        <a:gd name="T16" fmla="*/ 34 w 779"/>
                        <a:gd name="T17" fmla="*/ 847 h 999"/>
                        <a:gd name="T18" fmla="*/ 36 w 779"/>
                        <a:gd name="T19" fmla="*/ 871 h 999"/>
                        <a:gd name="T20" fmla="*/ 75 w 779"/>
                        <a:gd name="T21" fmla="*/ 948 h 999"/>
                        <a:gd name="T22" fmla="*/ 354 w 779"/>
                        <a:gd name="T23" fmla="*/ 965 h 999"/>
                        <a:gd name="T24" fmla="*/ 779 w 779"/>
                        <a:gd name="T25" fmla="*/ 965 h 999"/>
                        <a:gd name="T26" fmla="*/ 779 w 779"/>
                        <a:gd name="T27" fmla="*/ 999 h 9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779" h="999">
                          <a:moveTo>
                            <a:pt x="779" y="999"/>
                          </a:moveTo>
                          <a:cubicBezTo>
                            <a:pt x="354" y="999"/>
                            <a:pt x="354" y="999"/>
                            <a:pt x="354" y="999"/>
                          </a:cubicBezTo>
                          <a:cubicBezTo>
                            <a:pt x="189" y="999"/>
                            <a:pt x="108" y="996"/>
                            <a:pt x="63" y="980"/>
                          </a:cubicBezTo>
                          <a:cubicBezTo>
                            <a:pt x="11" y="961"/>
                            <a:pt x="7" y="925"/>
                            <a:pt x="2" y="874"/>
                          </a:cubicBezTo>
                          <a:cubicBezTo>
                            <a:pt x="2" y="866"/>
                            <a:pt x="1" y="858"/>
                            <a:pt x="0" y="849"/>
                          </a:cubicBezTo>
                          <a:cubicBezTo>
                            <a:pt x="0" y="849"/>
                            <a:pt x="0" y="848"/>
                            <a:pt x="0" y="847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34" y="847"/>
                            <a:pt x="34" y="847"/>
                            <a:pt x="34" y="847"/>
                          </a:cubicBezTo>
                          <a:cubicBezTo>
                            <a:pt x="35" y="855"/>
                            <a:pt x="35" y="863"/>
                            <a:pt x="36" y="871"/>
                          </a:cubicBezTo>
                          <a:cubicBezTo>
                            <a:pt x="41" y="922"/>
                            <a:pt x="44" y="937"/>
                            <a:pt x="75" y="948"/>
                          </a:cubicBezTo>
                          <a:cubicBezTo>
                            <a:pt x="114" y="962"/>
                            <a:pt x="196" y="965"/>
                            <a:pt x="354" y="965"/>
                          </a:cubicBezTo>
                          <a:cubicBezTo>
                            <a:pt x="779" y="965"/>
                            <a:pt x="779" y="965"/>
                            <a:pt x="779" y="965"/>
                          </a:cubicBezTo>
                          <a:lnTo>
                            <a:pt x="779" y="999"/>
                          </a:ln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59" name="Group 658"/>
                    <p:cNvGrpSpPr/>
                    <p:nvPr/>
                  </p:nvGrpSpPr>
                  <p:grpSpPr>
                    <a:xfrm rot="16200000">
                      <a:off x="10903605" y="1557171"/>
                      <a:ext cx="239953" cy="221210"/>
                      <a:chOff x="10903605" y="1557171"/>
                      <a:chExt cx="239953" cy="221210"/>
                    </a:xfrm>
                  </p:grpSpPr>
                  <p:grpSp>
                    <p:nvGrpSpPr>
                      <p:cNvPr id="696" name="Group 695"/>
                      <p:cNvGrpSpPr/>
                      <p:nvPr/>
                    </p:nvGrpSpPr>
                    <p:grpSpPr>
                      <a:xfrm>
                        <a:off x="10903605" y="1557171"/>
                        <a:ext cx="239953" cy="221210"/>
                        <a:chOff x="10903605" y="1557171"/>
                        <a:chExt cx="239953" cy="221210"/>
                      </a:xfrm>
                    </p:grpSpPr>
                    <p:sp>
                      <p:nvSpPr>
                        <p:cNvPr id="700" name="Freeform 221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945423" y="1580246"/>
                          <a:ext cx="221210" cy="175060"/>
                        </a:xfrm>
                        <a:custGeom>
                          <a:avLst/>
                          <a:gdLst>
                            <a:gd name="T0" fmla="*/ 0 w 201"/>
                            <a:gd name="T1" fmla="*/ 25 h 153"/>
                            <a:gd name="T2" fmla="*/ 25 w 201"/>
                            <a:gd name="T3" fmla="*/ 0 h 153"/>
                            <a:gd name="T4" fmla="*/ 175 w 201"/>
                            <a:gd name="T5" fmla="*/ 0 h 153"/>
                            <a:gd name="T6" fmla="*/ 201 w 201"/>
                            <a:gd name="T7" fmla="*/ 25 h 153"/>
                            <a:gd name="T8" fmla="*/ 201 w 201"/>
                            <a:gd name="T9" fmla="*/ 127 h 153"/>
                            <a:gd name="T10" fmla="*/ 175 w 201"/>
                            <a:gd name="T11" fmla="*/ 153 h 153"/>
                            <a:gd name="T12" fmla="*/ 25 w 201"/>
                            <a:gd name="T13" fmla="*/ 153 h 153"/>
                            <a:gd name="T14" fmla="*/ 0 w 201"/>
                            <a:gd name="T15" fmla="*/ 127 h 153"/>
                            <a:gd name="T16" fmla="*/ 0 w 201"/>
                            <a:gd name="T17" fmla="*/ 25 h 15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01" h="153">
                              <a:moveTo>
                                <a:pt x="0" y="25"/>
                              </a:moveTo>
                              <a:cubicBezTo>
                                <a:pt x="0" y="11"/>
                                <a:pt x="11" y="0"/>
                                <a:pt x="25" y="0"/>
                              </a:cubicBezTo>
                              <a:cubicBezTo>
                                <a:pt x="175" y="0"/>
                                <a:pt x="175" y="0"/>
                                <a:pt x="175" y="0"/>
                              </a:cubicBezTo>
                              <a:cubicBezTo>
                                <a:pt x="189" y="0"/>
                                <a:pt x="201" y="11"/>
                                <a:pt x="201" y="25"/>
                              </a:cubicBezTo>
                              <a:cubicBezTo>
                                <a:pt x="201" y="127"/>
                                <a:pt x="201" y="127"/>
                                <a:pt x="201" y="127"/>
                              </a:cubicBezTo>
                              <a:cubicBezTo>
                                <a:pt x="201" y="141"/>
                                <a:pt x="189" y="153"/>
                                <a:pt x="175" y="153"/>
                              </a:cubicBezTo>
                              <a:cubicBezTo>
                                <a:pt x="25" y="153"/>
                                <a:pt x="25" y="153"/>
                                <a:pt x="25" y="153"/>
                              </a:cubicBezTo>
                              <a:cubicBezTo>
                                <a:pt x="11" y="153"/>
                                <a:pt x="0" y="141"/>
                                <a:pt x="0" y="127"/>
                              </a:cubicBezTo>
                              <a:lnTo>
                                <a:pt x="0" y="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78C1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701" name="Freeform 222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97053" y="1604472"/>
                          <a:ext cx="94597" cy="81493"/>
                        </a:xfrm>
                        <a:custGeom>
                          <a:avLst/>
                          <a:gdLst>
                            <a:gd name="T0" fmla="*/ 0 w 65"/>
                            <a:gd name="T1" fmla="*/ 0 h 54"/>
                            <a:gd name="T2" fmla="*/ 13 w 65"/>
                            <a:gd name="T3" fmla="*/ 54 h 54"/>
                            <a:gd name="T4" fmla="*/ 65 w 65"/>
                            <a:gd name="T5" fmla="*/ 0 h 54"/>
                            <a:gd name="T6" fmla="*/ 0 w 65"/>
                            <a:gd name="T7" fmla="*/ 0 h 54"/>
                            <a:gd name="T8" fmla="*/ 0 w 65"/>
                            <a:gd name="T9" fmla="*/ 0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</a:cxnLst>
                          <a:rect l="0" t="0" r="r" b="b"/>
                          <a:pathLst>
                            <a:path w="65" h="54">
                              <a:moveTo>
                                <a:pt x="0" y="0"/>
                              </a:moveTo>
                              <a:lnTo>
                                <a:pt x="13" y="54"/>
                              </a:lnTo>
                              <a:lnTo>
                                <a:pt x="65" y="0"/>
                              </a:lnTo>
                              <a:lnTo>
                                <a:pt x="0" y="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78C1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697" name="Group 696"/>
                      <p:cNvGrpSpPr/>
                      <p:nvPr/>
                    </p:nvGrpSpPr>
                    <p:grpSpPr>
                      <a:xfrm>
                        <a:off x="11065083" y="1592098"/>
                        <a:ext cx="27164" cy="80043"/>
                        <a:chOff x="11065083" y="1592098"/>
                        <a:chExt cx="27164" cy="80043"/>
                      </a:xfrm>
                    </p:grpSpPr>
                    <p:sp>
                      <p:nvSpPr>
                        <p:cNvPr id="698" name="Freeform 224"/>
                        <p:cNvSpPr>
                          <a:spLocks noEditPoints="1"/>
                        </p:cNvSpPr>
                        <p:nvPr/>
                      </p:nvSpPr>
                      <p:spPr bwMode="auto">
                        <a:xfrm rot="5400000">
                          <a:off x="11061928" y="1595253"/>
                          <a:ext cx="33473" cy="27164"/>
                        </a:xfrm>
                        <a:custGeom>
                          <a:avLst/>
                          <a:gdLst>
                            <a:gd name="T0" fmla="*/ 14 w 30"/>
                            <a:gd name="T1" fmla="*/ 25 h 25"/>
                            <a:gd name="T2" fmla="*/ 0 w 30"/>
                            <a:gd name="T3" fmla="*/ 25 h 25"/>
                            <a:gd name="T4" fmla="*/ 0 w 30"/>
                            <a:gd name="T5" fmla="*/ 15 h 25"/>
                            <a:gd name="T6" fmla="*/ 3 w 30"/>
                            <a:gd name="T7" fmla="*/ 6 h 25"/>
                            <a:gd name="T8" fmla="*/ 11 w 30"/>
                            <a:gd name="T9" fmla="*/ 0 h 25"/>
                            <a:gd name="T10" fmla="*/ 14 w 30"/>
                            <a:gd name="T11" fmla="*/ 5 h 25"/>
                            <a:gd name="T12" fmla="*/ 9 w 30"/>
                            <a:gd name="T13" fmla="*/ 9 h 25"/>
                            <a:gd name="T14" fmla="*/ 7 w 30"/>
                            <a:gd name="T15" fmla="*/ 13 h 25"/>
                            <a:gd name="T16" fmla="*/ 14 w 30"/>
                            <a:gd name="T17" fmla="*/ 13 h 25"/>
                            <a:gd name="T18" fmla="*/ 14 w 30"/>
                            <a:gd name="T19" fmla="*/ 25 h 25"/>
                            <a:gd name="T20" fmla="*/ 30 w 30"/>
                            <a:gd name="T21" fmla="*/ 25 h 25"/>
                            <a:gd name="T22" fmla="*/ 16 w 30"/>
                            <a:gd name="T23" fmla="*/ 25 h 25"/>
                            <a:gd name="T24" fmla="*/ 16 w 30"/>
                            <a:gd name="T25" fmla="*/ 15 h 25"/>
                            <a:gd name="T26" fmla="*/ 18 w 30"/>
                            <a:gd name="T27" fmla="*/ 6 h 25"/>
                            <a:gd name="T28" fmla="*/ 27 w 30"/>
                            <a:gd name="T29" fmla="*/ 0 h 25"/>
                            <a:gd name="T30" fmla="*/ 30 w 30"/>
                            <a:gd name="T31" fmla="*/ 5 h 25"/>
                            <a:gd name="T32" fmla="*/ 25 w 30"/>
                            <a:gd name="T33" fmla="*/ 9 h 25"/>
                            <a:gd name="T34" fmla="*/ 23 w 30"/>
                            <a:gd name="T35" fmla="*/ 13 h 25"/>
                            <a:gd name="T36" fmla="*/ 30 w 30"/>
                            <a:gd name="T37" fmla="*/ 13 h 25"/>
                            <a:gd name="T38" fmla="*/ 30 w 30"/>
                            <a:gd name="T39" fmla="*/ 25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</a:cxnLst>
                          <a:rect l="0" t="0" r="r" b="b"/>
                          <a:pathLst>
                            <a:path w="30" h="25">
                              <a:moveTo>
                                <a:pt x="14" y="25"/>
                              </a:moveTo>
                              <a:cubicBezTo>
                                <a:pt x="0" y="25"/>
                                <a:pt x="0" y="25"/>
                                <a:pt x="0" y="25"/>
                              </a:cubicBezTo>
                              <a:cubicBezTo>
                                <a:pt x="0" y="15"/>
                                <a:pt x="0" y="15"/>
                                <a:pt x="0" y="15"/>
                              </a:cubicBezTo>
                              <a:cubicBezTo>
                                <a:pt x="0" y="11"/>
                                <a:pt x="1" y="8"/>
                                <a:pt x="3" y="6"/>
                              </a:cubicBezTo>
                              <a:cubicBezTo>
                                <a:pt x="4" y="3"/>
                                <a:pt x="7" y="1"/>
                                <a:pt x="11" y="0"/>
                              </a:cubicBezTo>
                              <a:cubicBezTo>
                                <a:pt x="14" y="5"/>
                                <a:pt x="14" y="5"/>
                                <a:pt x="14" y="5"/>
                              </a:cubicBezTo>
                              <a:cubicBezTo>
                                <a:pt x="11" y="6"/>
                                <a:pt x="10" y="7"/>
                                <a:pt x="9" y="9"/>
                              </a:cubicBezTo>
                              <a:cubicBezTo>
                                <a:pt x="8" y="10"/>
                                <a:pt x="7" y="11"/>
                                <a:pt x="7" y="13"/>
                              </a:cubicBezTo>
                              <a:cubicBezTo>
                                <a:pt x="14" y="13"/>
                                <a:pt x="14" y="13"/>
                                <a:pt x="14" y="13"/>
                              </a:cubicBezTo>
                              <a:lnTo>
                                <a:pt x="14" y="25"/>
                              </a:lnTo>
                              <a:close/>
                              <a:moveTo>
                                <a:pt x="30" y="25"/>
                              </a:moveTo>
                              <a:cubicBezTo>
                                <a:pt x="16" y="25"/>
                                <a:pt x="16" y="25"/>
                                <a:pt x="16" y="25"/>
                              </a:cubicBezTo>
                              <a:cubicBezTo>
                                <a:pt x="16" y="15"/>
                                <a:pt x="16" y="15"/>
                                <a:pt x="16" y="15"/>
                              </a:cubicBezTo>
                              <a:cubicBezTo>
                                <a:pt x="16" y="11"/>
                                <a:pt x="17" y="8"/>
                                <a:pt x="18" y="6"/>
                              </a:cubicBezTo>
                              <a:cubicBezTo>
                                <a:pt x="20" y="3"/>
                                <a:pt x="23" y="1"/>
                                <a:pt x="27" y="0"/>
                              </a:cubicBezTo>
                              <a:cubicBezTo>
                                <a:pt x="30" y="5"/>
                                <a:pt x="30" y="5"/>
                                <a:pt x="30" y="5"/>
                              </a:cubicBezTo>
                              <a:cubicBezTo>
                                <a:pt x="27" y="6"/>
                                <a:pt x="26" y="7"/>
                                <a:pt x="25" y="9"/>
                              </a:cubicBezTo>
                              <a:cubicBezTo>
                                <a:pt x="24" y="10"/>
                                <a:pt x="23" y="11"/>
                                <a:pt x="23" y="13"/>
                              </a:cubicBezTo>
                              <a:cubicBezTo>
                                <a:pt x="30" y="13"/>
                                <a:pt x="30" y="13"/>
                                <a:pt x="30" y="13"/>
                              </a:cubicBezTo>
                              <a:lnTo>
                                <a:pt x="30" y="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9" name="Freeform 225"/>
                        <p:cNvSpPr>
                          <a:spLocks noEditPoints="1"/>
                        </p:cNvSpPr>
                        <p:nvPr/>
                      </p:nvSpPr>
                      <p:spPr bwMode="auto">
                        <a:xfrm rot="5400000">
                          <a:off x="11062656" y="1642551"/>
                          <a:ext cx="32017" cy="27164"/>
                        </a:xfrm>
                        <a:custGeom>
                          <a:avLst/>
                          <a:gdLst>
                            <a:gd name="T0" fmla="*/ 0 w 29"/>
                            <a:gd name="T1" fmla="*/ 0 h 25"/>
                            <a:gd name="T2" fmla="*/ 14 w 29"/>
                            <a:gd name="T3" fmla="*/ 0 h 25"/>
                            <a:gd name="T4" fmla="*/ 14 w 29"/>
                            <a:gd name="T5" fmla="*/ 10 h 25"/>
                            <a:gd name="T6" fmla="*/ 11 w 29"/>
                            <a:gd name="T7" fmla="*/ 19 h 25"/>
                            <a:gd name="T8" fmla="*/ 3 w 29"/>
                            <a:gd name="T9" fmla="*/ 25 h 25"/>
                            <a:gd name="T10" fmla="*/ 0 w 29"/>
                            <a:gd name="T11" fmla="*/ 20 h 25"/>
                            <a:gd name="T12" fmla="*/ 5 w 29"/>
                            <a:gd name="T13" fmla="*/ 16 h 25"/>
                            <a:gd name="T14" fmla="*/ 7 w 29"/>
                            <a:gd name="T15" fmla="*/ 12 h 25"/>
                            <a:gd name="T16" fmla="*/ 0 w 29"/>
                            <a:gd name="T17" fmla="*/ 12 h 25"/>
                            <a:gd name="T18" fmla="*/ 0 w 29"/>
                            <a:gd name="T19" fmla="*/ 0 h 25"/>
                            <a:gd name="T20" fmla="*/ 16 w 29"/>
                            <a:gd name="T21" fmla="*/ 0 h 25"/>
                            <a:gd name="T22" fmla="*/ 29 w 29"/>
                            <a:gd name="T23" fmla="*/ 0 h 25"/>
                            <a:gd name="T24" fmla="*/ 29 w 29"/>
                            <a:gd name="T25" fmla="*/ 10 h 25"/>
                            <a:gd name="T26" fmla="*/ 27 w 29"/>
                            <a:gd name="T27" fmla="*/ 19 h 25"/>
                            <a:gd name="T28" fmla="*/ 19 w 29"/>
                            <a:gd name="T29" fmla="*/ 25 h 25"/>
                            <a:gd name="T30" fmla="*/ 16 w 29"/>
                            <a:gd name="T31" fmla="*/ 20 h 25"/>
                            <a:gd name="T32" fmla="*/ 21 w 29"/>
                            <a:gd name="T33" fmla="*/ 16 h 25"/>
                            <a:gd name="T34" fmla="*/ 22 w 29"/>
                            <a:gd name="T35" fmla="*/ 12 h 25"/>
                            <a:gd name="T36" fmla="*/ 16 w 29"/>
                            <a:gd name="T37" fmla="*/ 12 h 25"/>
                            <a:gd name="T38" fmla="*/ 16 w 29"/>
                            <a:gd name="T39" fmla="*/ 0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</a:cxnLst>
                          <a:rect l="0" t="0" r="r" b="b"/>
                          <a:pathLst>
                            <a:path w="29" h="25">
                              <a:moveTo>
                                <a:pt x="0" y="0"/>
                              </a:moveTo>
                              <a:cubicBezTo>
                                <a:pt x="14" y="0"/>
                                <a:pt x="14" y="0"/>
                                <a:pt x="14" y="0"/>
                              </a:cubicBezTo>
                              <a:cubicBezTo>
                                <a:pt x="14" y="10"/>
                                <a:pt x="14" y="10"/>
                                <a:pt x="14" y="10"/>
                              </a:cubicBezTo>
                              <a:cubicBezTo>
                                <a:pt x="14" y="14"/>
                                <a:pt x="13" y="17"/>
                                <a:pt x="11" y="19"/>
                              </a:cubicBezTo>
                              <a:cubicBezTo>
                                <a:pt x="10" y="21"/>
                                <a:pt x="7" y="23"/>
                                <a:pt x="3" y="25"/>
                              </a:cubicBezTo>
                              <a:cubicBezTo>
                                <a:pt x="0" y="20"/>
                                <a:pt x="0" y="20"/>
                                <a:pt x="0" y="20"/>
                              </a:cubicBezTo>
                              <a:cubicBezTo>
                                <a:pt x="2" y="18"/>
                                <a:pt x="4" y="17"/>
                                <a:pt x="5" y="16"/>
                              </a:cubicBezTo>
                              <a:cubicBezTo>
                                <a:pt x="6" y="15"/>
                                <a:pt x="6" y="14"/>
                                <a:pt x="7" y="12"/>
                              </a:cubicBezTo>
                              <a:cubicBezTo>
                                <a:pt x="0" y="12"/>
                                <a:pt x="0" y="12"/>
                                <a:pt x="0" y="12"/>
                              </a:cubicBezTo>
                              <a:lnTo>
                                <a:pt x="0" y="0"/>
                              </a:lnTo>
                              <a:close/>
                              <a:moveTo>
                                <a:pt x="16" y="0"/>
                              </a:moveTo>
                              <a:cubicBezTo>
                                <a:pt x="29" y="0"/>
                                <a:pt x="29" y="0"/>
                                <a:pt x="29" y="0"/>
                              </a:cubicBezTo>
                              <a:cubicBezTo>
                                <a:pt x="29" y="10"/>
                                <a:pt x="29" y="10"/>
                                <a:pt x="29" y="10"/>
                              </a:cubicBezTo>
                              <a:cubicBezTo>
                                <a:pt x="29" y="14"/>
                                <a:pt x="29" y="17"/>
                                <a:pt x="27" y="19"/>
                              </a:cubicBezTo>
                              <a:cubicBezTo>
                                <a:pt x="25" y="21"/>
                                <a:pt x="23" y="23"/>
                                <a:pt x="19" y="25"/>
                              </a:cubicBezTo>
                              <a:cubicBezTo>
                                <a:pt x="16" y="20"/>
                                <a:pt x="16" y="20"/>
                                <a:pt x="16" y="20"/>
                              </a:cubicBezTo>
                              <a:cubicBezTo>
                                <a:pt x="18" y="18"/>
                                <a:pt x="20" y="17"/>
                                <a:pt x="21" y="16"/>
                              </a:cubicBezTo>
                              <a:cubicBezTo>
                                <a:pt x="22" y="15"/>
                                <a:pt x="22" y="14"/>
                                <a:pt x="22" y="12"/>
                              </a:cubicBezTo>
                              <a:cubicBezTo>
                                <a:pt x="16" y="12"/>
                                <a:pt x="16" y="12"/>
                                <a:pt x="16" y="12"/>
                              </a:cubicBezTo>
                              <a:lnTo>
                                <a:pt x="16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sp>
                  <p:nvSpPr>
                    <p:cNvPr id="660" name="Freeform 226"/>
                    <p:cNvSpPr>
                      <a:spLocks noEditPoints="1"/>
                    </p:cNvSpPr>
                    <p:nvPr/>
                  </p:nvSpPr>
                  <p:spPr bwMode="auto">
                    <a:xfrm rot="18900000">
                      <a:off x="11274280" y="1428435"/>
                      <a:ext cx="213934" cy="200715"/>
                    </a:xfrm>
                    <a:custGeom>
                      <a:avLst/>
                      <a:gdLst>
                        <a:gd name="T0" fmla="*/ 113 w 196"/>
                        <a:gd name="T1" fmla="*/ 118 h 177"/>
                        <a:gd name="T2" fmla="*/ 114 w 196"/>
                        <a:gd name="T3" fmla="*/ 126 h 177"/>
                        <a:gd name="T4" fmla="*/ 122 w 196"/>
                        <a:gd name="T5" fmla="*/ 127 h 177"/>
                        <a:gd name="T6" fmla="*/ 124 w 196"/>
                        <a:gd name="T7" fmla="*/ 135 h 177"/>
                        <a:gd name="T8" fmla="*/ 131 w 196"/>
                        <a:gd name="T9" fmla="*/ 135 h 177"/>
                        <a:gd name="T10" fmla="*/ 132 w 196"/>
                        <a:gd name="T11" fmla="*/ 144 h 177"/>
                        <a:gd name="T12" fmla="*/ 141 w 196"/>
                        <a:gd name="T13" fmla="*/ 145 h 177"/>
                        <a:gd name="T14" fmla="*/ 128 w 196"/>
                        <a:gd name="T15" fmla="*/ 166 h 177"/>
                        <a:gd name="T16" fmla="*/ 119 w 196"/>
                        <a:gd name="T17" fmla="*/ 165 h 177"/>
                        <a:gd name="T18" fmla="*/ 111 w 196"/>
                        <a:gd name="T19" fmla="*/ 157 h 177"/>
                        <a:gd name="T20" fmla="*/ 109 w 196"/>
                        <a:gd name="T21" fmla="*/ 149 h 177"/>
                        <a:gd name="T22" fmla="*/ 101 w 196"/>
                        <a:gd name="T23" fmla="*/ 147 h 177"/>
                        <a:gd name="T24" fmla="*/ 93 w 196"/>
                        <a:gd name="T25" fmla="*/ 139 h 177"/>
                        <a:gd name="T26" fmla="*/ 92 w 196"/>
                        <a:gd name="T27" fmla="*/ 130 h 177"/>
                        <a:gd name="T28" fmla="*/ 109 w 196"/>
                        <a:gd name="T29" fmla="*/ 116 h 177"/>
                        <a:gd name="T30" fmla="*/ 172 w 196"/>
                        <a:gd name="T31" fmla="*/ 148 h 177"/>
                        <a:gd name="T32" fmla="*/ 166 w 196"/>
                        <a:gd name="T33" fmla="*/ 172 h 177"/>
                        <a:gd name="T34" fmla="*/ 140 w 196"/>
                        <a:gd name="T35" fmla="*/ 164 h 177"/>
                        <a:gd name="T36" fmla="*/ 139 w 196"/>
                        <a:gd name="T37" fmla="*/ 136 h 177"/>
                        <a:gd name="T38" fmla="*/ 124 w 196"/>
                        <a:gd name="T39" fmla="*/ 120 h 177"/>
                        <a:gd name="T40" fmla="*/ 154 w 196"/>
                        <a:gd name="T41" fmla="*/ 78 h 177"/>
                        <a:gd name="T42" fmla="*/ 182 w 196"/>
                        <a:gd name="T43" fmla="*/ 104 h 177"/>
                        <a:gd name="T44" fmla="*/ 164 w 196"/>
                        <a:gd name="T45" fmla="*/ 130 h 177"/>
                        <a:gd name="T46" fmla="*/ 128 w 196"/>
                        <a:gd name="T47" fmla="*/ 104 h 177"/>
                        <a:gd name="T48" fmla="*/ 128 w 196"/>
                        <a:gd name="T49" fmla="*/ 105 h 177"/>
                        <a:gd name="T50" fmla="*/ 126 w 196"/>
                        <a:gd name="T51" fmla="*/ 110 h 177"/>
                        <a:gd name="T52" fmla="*/ 121 w 196"/>
                        <a:gd name="T53" fmla="*/ 114 h 177"/>
                        <a:gd name="T54" fmla="*/ 117 w 196"/>
                        <a:gd name="T55" fmla="*/ 94 h 177"/>
                        <a:gd name="T56" fmla="*/ 117 w 196"/>
                        <a:gd name="T57" fmla="*/ 93 h 177"/>
                        <a:gd name="T58" fmla="*/ 127 w 196"/>
                        <a:gd name="T59" fmla="*/ 79 h 177"/>
                        <a:gd name="T60" fmla="*/ 167 w 196"/>
                        <a:gd name="T61" fmla="*/ 67 h 177"/>
                        <a:gd name="T62" fmla="*/ 194 w 196"/>
                        <a:gd name="T63" fmla="*/ 91 h 177"/>
                        <a:gd name="T64" fmla="*/ 192 w 196"/>
                        <a:gd name="T65" fmla="*/ 101 h 177"/>
                        <a:gd name="T66" fmla="*/ 161 w 196"/>
                        <a:gd name="T67" fmla="*/ 78 h 177"/>
                        <a:gd name="T68" fmla="*/ 163 w 196"/>
                        <a:gd name="T69" fmla="*/ 68 h 177"/>
                        <a:gd name="T70" fmla="*/ 35 w 196"/>
                        <a:gd name="T71" fmla="*/ 33 h 177"/>
                        <a:gd name="T72" fmla="*/ 35 w 196"/>
                        <a:gd name="T73" fmla="*/ 66 h 177"/>
                        <a:gd name="T74" fmla="*/ 33 w 196"/>
                        <a:gd name="T75" fmla="*/ 33 h 177"/>
                        <a:gd name="T76" fmla="*/ 56 w 196"/>
                        <a:gd name="T77" fmla="*/ 16 h 177"/>
                        <a:gd name="T78" fmla="*/ 56 w 196"/>
                        <a:gd name="T79" fmla="*/ 95 h 177"/>
                        <a:gd name="T80" fmla="*/ 56 w 196"/>
                        <a:gd name="T81" fmla="*/ 16 h 177"/>
                        <a:gd name="T82" fmla="*/ 111 w 196"/>
                        <a:gd name="T83" fmla="*/ 56 h 177"/>
                        <a:gd name="T84" fmla="*/ 106 w 196"/>
                        <a:gd name="T85" fmla="*/ 82 h 177"/>
                        <a:gd name="T86" fmla="*/ 105 w 196"/>
                        <a:gd name="T87" fmla="*/ 110 h 177"/>
                        <a:gd name="T88" fmla="*/ 82 w 196"/>
                        <a:gd name="T89" fmla="*/ 106 h 177"/>
                        <a:gd name="T90" fmla="*/ 56 w 196"/>
                        <a:gd name="T91" fmla="*/ 111 h 177"/>
                        <a:gd name="T92" fmla="*/ 56 w 196"/>
                        <a:gd name="T93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96" h="177">
                          <a:moveTo>
                            <a:pt x="109" y="116"/>
                          </a:moveTo>
                          <a:cubicBezTo>
                            <a:pt x="110" y="116"/>
                            <a:pt x="112" y="117"/>
                            <a:pt x="113" y="118"/>
                          </a:cubicBezTo>
                          <a:cubicBezTo>
                            <a:pt x="114" y="118"/>
                            <a:pt x="114" y="118"/>
                            <a:pt x="114" y="118"/>
                          </a:cubicBezTo>
                          <a:cubicBezTo>
                            <a:pt x="116" y="121"/>
                            <a:pt x="116" y="124"/>
                            <a:pt x="114" y="126"/>
                          </a:cubicBezTo>
                          <a:cubicBezTo>
                            <a:pt x="115" y="125"/>
                            <a:pt x="117" y="125"/>
                            <a:pt x="118" y="125"/>
                          </a:cubicBezTo>
                          <a:cubicBezTo>
                            <a:pt x="119" y="125"/>
                            <a:pt x="121" y="125"/>
                            <a:pt x="122" y="127"/>
                          </a:cubicBezTo>
                          <a:cubicBezTo>
                            <a:pt x="123" y="127"/>
                            <a:pt x="123" y="127"/>
                            <a:pt x="123" y="127"/>
                          </a:cubicBezTo>
                          <a:cubicBezTo>
                            <a:pt x="125" y="129"/>
                            <a:pt x="125" y="132"/>
                            <a:pt x="124" y="135"/>
                          </a:cubicBezTo>
                          <a:cubicBezTo>
                            <a:pt x="124" y="134"/>
                            <a:pt x="126" y="134"/>
                            <a:pt x="127" y="134"/>
                          </a:cubicBezTo>
                          <a:cubicBezTo>
                            <a:pt x="128" y="134"/>
                            <a:pt x="130" y="134"/>
                            <a:pt x="131" y="135"/>
                          </a:cubicBezTo>
                          <a:cubicBezTo>
                            <a:pt x="132" y="136"/>
                            <a:pt x="132" y="136"/>
                            <a:pt x="132" y="136"/>
                          </a:cubicBezTo>
                          <a:cubicBezTo>
                            <a:pt x="134" y="138"/>
                            <a:pt x="134" y="142"/>
                            <a:pt x="132" y="144"/>
                          </a:cubicBezTo>
                          <a:cubicBezTo>
                            <a:pt x="134" y="142"/>
                            <a:pt x="138" y="142"/>
                            <a:pt x="140" y="144"/>
                          </a:cubicBezTo>
                          <a:cubicBezTo>
                            <a:pt x="141" y="145"/>
                            <a:pt x="141" y="145"/>
                            <a:pt x="141" y="145"/>
                          </a:cubicBezTo>
                          <a:cubicBezTo>
                            <a:pt x="143" y="147"/>
                            <a:pt x="143" y="151"/>
                            <a:pt x="141" y="153"/>
                          </a:cubicBezTo>
                          <a:cubicBezTo>
                            <a:pt x="128" y="166"/>
                            <a:pt x="128" y="166"/>
                            <a:pt x="128" y="166"/>
                          </a:cubicBezTo>
                          <a:cubicBezTo>
                            <a:pt x="126" y="168"/>
                            <a:pt x="122" y="168"/>
                            <a:pt x="120" y="166"/>
                          </a:cubicBezTo>
                          <a:cubicBezTo>
                            <a:pt x="119" y="165"/>
                            <a:pt x="119" y="165"/>
                            <a:pt x="119" y="165"/>
                          </a:cubicBezTo>
                          <a:cubicBezTo>
                            <a:pt x="117" y="163"/>
                            <a:pt x="117" y="160"/>
                            <a:pt x="119" y="157"/>
                          </a:cubicBezTo>
                          <a:cubicBezTo>
                            <a:pt x="116" y="159"/>
                            <a:pt x="113" y="159"/>
                            <a:pt x="111" y="157"/>
                          </a:cubicBezTo>
                          <a:cubicBezTo>
                            <a:pt x="110" y="156"/>
                            <a:pt x="110" y="156"/>
                            <a:pt x="110" y="156"/>
                          </a:cubicBezTo>
                          <a:cubicBezTo>
                            <a:pt x="108" y="154"/>
                            <a:pt x="108" y="151"/>
                            <a:pt x="109" y="149"/>
                          </a:cubicBezTo>
                          <a:cubicBezTo>
                            <a:pt x="107" y="151"/>
                            <a:pt x="104" y="150"/>
                            <a:pt x="102" y="148"/>
                          </a:cubicBezTo>
                          <a:cubicBezTo>
                            <a:pt x="101" y="147"/>
                            <a:pt x="101" y="147"/>
                            <a:pt x="101" y="147"/>
                          </a:cubicBezTo>
                          <a:cubicBezTo>
                            <a:pt x="99" y="145"/>
                            <a:pt x="99" y="142"/>
                            <a:pt x="101" y="140"/>
                          </a:cubicBezTo>
                          <a:cubicBezTo>
                            <a:pt x="99" y="142"/>
                            <a:pt x="95" y="141"/>
                            <a:pt x="93" y="139"/>
                          </a:cubicBezTo>
                          <a:cubicBezTo>
                            <a:pt x="92" y="139"/>
                            <a:pt x="92" y="139"/>
                            <a:pt x="92" y="139"/>
                          </a:cubicBezTo>
                          <a:cubicBezTo>
                            <a:pt x="90" y="136"/>
                            <a:pt x="90" y="132"/>
                            <a:pt x="92" y="130"/>
                          </a:cubicBezTo>
                          <a:cubicBezTo>
                            <a:pt x="105" y="118"/>
                            <a:pt x="105" y="118"/>
                            <a:pt x="105" y="118"/>
                          </a:cubicBezTo>
                          <a:cubicBezTo>
                            <a:pt x="106" y="117"/>
                            <a:pt x="107" y="116"/>
                            <a:pt x="109" y="116"/>
                          </a:cubicBezTo>
                          <a:close/>
                          <a:moveTo>
                            <a:pt x="134" y="109"/>
                          </a:moveTo>
                          <a:cubicBezTo>
                            <a:pt x="172" y="148"/>
                            <a:pt x="172" y="148"/>
                            <a:pt x="172" y="148"/>
                          </a:cubicBezTo>
                          <a:cubicBezTo>
                            <a:pt x="177" y="153"/>
                            <a:pt x="177" y="160"/>
                            <a:pt x="172" y="165"/>
                          </a:cubicBezTo>
                          <a:cubicBezTo>
                            <a:pt x="166" y="172"/>
                            <a:pt x="166" y="172"/>
                            <a:pt x="166" y="172"/>
                          </a:cubicBezTo>
                          <a:cubicBezTo>
                            <a:pt x="161" y="177"/>
                            <a:pt x="153" y="177"/>
                            <a:pt x="148" y="172"/>
                          </a:cubicBezTo>
                          <a:cubicBezTo>
                            <a:pt x="140" y="164"/>
                            <a:pt x="140" y="164"/>
                            <a:pt x="140" y="164"/>
                          </a:cubicBezTo>
                          <a:cubicBezTo>
                            <a:pt x="147" y="156"/>
                            <a:pt x="147" y="156"/>
                            <a:pt x="147" y="156"/>
                          </a:cubicBezTo>
                          <a:cubicBezTo>
                            <a:pt x="149" y="153"/>
                            <a:pt x="152" y="142"/>
                            <a:pt x="139" y="136"/>
                          </a:cubicBezTo>
                          <a:cubicBezTo>
                            <a:pt x="138" y="133"/>
                            <a:pt x="135" y="128"/>
                            <a:pt x="131" y="127"/>
                          </a:cubicBezTo>
                          <a:cubicBezTo>
                            <a:pt x="130" y="125"/>
                            <a:pt x="128" y="122"/>
                            <a:pt x="124" y="120"/>
                          </a:cubicBezTo>
                          <a:cubicBezTo>
                            <a:pt x="128" y="118"/>
                            <a:pt x="131" y="115"/>
                            <a:pt x="134" y="109"/>
                          </a:cubicBezTo>
                          <a:close/>
                          <a:moveTo>
                            <a:pt x="154" y="78"/>
                          </a:moveTo>
                          <a:cubicBezTo>
                            <a:pt x="156" y="78"/>
                            <a:pt x="158" y="79"/>
                            <a:pt x="160" y="81"/>
                          </a:cubicBezTo>
                          <a:cubicBezTo>
                            <a:pt x="182" y="104"/>
                            <a:pt x="182" y="104"/>
                            <a:pt x="182" y="104"/>
                          </a:cubicBezTo>
                          <a:cubicBezTo>
                            <a:pt x="185" y="106"/>
                            <a:pt x="184" y="109"/>
                            <a:pt x="183" y="111"/>
                          </a:cubicBezTo>
                          <a:cubicBezTo>
                            <a:pt x="164" y="130"/>
                            <a:pt x="164" y="130"/>
                            <a:pt x="164" y="130"/>
                          </a:cubicBezTo>
                          <a:cubicBezTo>
                            <a:pt x="131" y="97"/>
                            <a:pt x="131" y="97"/>
                            <a:pt x="131" y="97"/>
                          </a:cubicBezTo>
                          <a:cubicBezTo>
                            <a:pt x="128" y="104"/>
                            <a:pt x="128" y="104"/>
                            <a:pt x="128" y="104"/>
                          </a:cubicBezTo>
                          <a:cubicBezTo>
                            <a:pt x="128" y="104"/>
                            <a:pt x="128" y="104"/>
                            <a:pt x="128" y="104"/>
                          </a:cubicBezTo>
                          <a:cubicBezTo>
                            <a:pt x="128" y="105"/>
                            <a:pt x="128" y="105"/>
                            <a:pt x="128" y="105"/>
                          </a:cubicBezTo>
                          <a:cubicBezTo>
                            <a:pt x="127" y="107"/>
                            <a:pt x="127" y="109"/>
                            <a:pt x="126" y="110"/>
                          </a:cubicBezTo>
                          <a:cubicBezTo>
                            <a:pt x="126" y="110"/>
                            <a:pt x="126" y="110"/>
                            <a:pt x="126" y="110"/>
                          </a:cubicBezTo>
                          <a:cubicBezTo>
                            <a:pt x="125" y="110"/>
                            <a:pt x="125" y="110"/>
                            <a:pt x="125" y="110"/>
                          </a:cubicBezTo>
                          <a:cubicBezTo>
                            <a:pt x="124" y="112"/>
                            <a:pt x="123" y="113"/>
                            <a:pt x="121" y="114"/>
                          </a:cubicBezTo>
                          <a:cubicBezTo>
                            <a:pt x="113" y="116"/>
                            <a:pt x="111" y="111"/>
                            <a:pt x="112" y="107"/>
                          </a:cubicBezTo>
                          <a:cubicBezTo>
                            <a:pt x="117" y="94"/>
                            <a:pt x="117" y="94"/>
                            <a:pt x="117" y="94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21" y="84"/>
                            <a:pt x="121" y="84"/>
                            <a:pt x="121" y="84"/>
                          </a:cubicBezTo>
                          <a:cubicBezTo>
                            <a:pt x="122" y="82"/>
                            <a:pt x="124" y="80"/>
                            <a:pt x="127" y="79"/>
                          </a:cubicBezTo>
                          <a:lnTo>
                            <a:pt x="154" y="78"/>
                          </a:lnTo>
                          <a:close/>
                          <a:moveTo>
                            <a:pt x="167" y="67"/>
                          </a:moveTo>
                          <a:cubicBezTo>
                            <a:pt x="169" y="67"/>
                            <a:pt x="170" y="67"/>
                            <a:pt x="171" y="68"/>
                          </a:cubicBezTo>
                          <a:cubicBezTo>
                            <a:pt x="194" y="91"/>
                            <a:pt x="194" y="91"/>
                            <a:pt x="194" y="91"/>
                          </a:cubicBezTo>
                          <a:cubicBezTo>
                            <a:pt x="196" y="93"/>
                            <a:pt x="196" y="97"/>
                            <a:pt x="194" y="99"/>
                          </a:cubicBezTo>
                          <a:cubicBezTo>
                            <a:pt x="192" y="101"/>
                            <a:pt x="192" y="101"/>
                            <a:pt x="192" y="101"/>
                          </a:cubicBezTo>
                          <a:cubicBezTo>
                            <a:pt x="190" y="103"/>
                            <a:pt x="186" y="103"/>
                            <a:pt x="184" y="101"/>
                          </a:cubicBezTo>
                          <a:cubicBezTo>
                            <a:pt x="161" y="78"/>
                            <a:pt x="161" y="78"/>
                            <a:pt x="161" y="78"/>
                          </a:cubicBezTo>
                          <a:cubicBezTo>
                            <a:pt x="159" y="76"/>
                            <a:pt x="159" y="73"/>
                            <a:pt x="161" y="70"/>
                          </a:cubicBezTo>
                          <a:cubicBezTo>
                            <a:pt x="163" y="68"/>
                            <a:pt x="163" y="68"/>
                            <a:pt x="163" y="68"/>
                          </a:cubicBezTo>
                          <a:cubicBezTo>
                            <a:pt x="164" y="67"/>
                            <a:pt x="166" y="67"/>
                            <a:pt x="167" y="67"/>
                          </a:cubicBezTo>
                          <a:close/>
                          <a:moveTo>
                            <a:pt x="35" y="33"/>
                          </a:moveTo>
                          <a:cubicBezTo>
                            <a:pt x="39" y="33"/>
                            <a:pt x="39" y="37"/>
                            <a:pt x="39" y="39"/>
                          </a:cubicBezTo>
                          <a:cubicBezTo>
                            <a:pt x="36" y="43"/>
                            <a:pt x="29" y="50"/>
                            <a:pt x="35" y="66"/>
                          </a:cubicBezTo>
                          <a:cubicBezTo>
                            <a:pt x="35" y="69"/>
                            <a:pt x="33" y="72"/>
                            <a:pt x="29" y="70"/>
                          </a:cubicBezTo>
                          <a:cubicBezTo>
                            <a:pt x="19" y="54"/>
                            <a:pt x="29" y="38"/>
                            <a:pt x="33" y="33"/>
                          </a:cubicBezTo>
                          <a:cubicBezTo>
                            <a:pt x="34" y="33"/>
                            <a:pt x="34" y="33"/>
                            <a:pt x="35" y="33"/>
                          </a:cubicBezTo>
                          <a:close/>
                          <a:moveTo>
                            <a:pt x="56" y="16"/>
                          </a:moveTo>
                          <a:cubicBezTo>
                            <a:pt x="34" y="16"/>
                            <a:pt x="16" y="34"/>
                            <a:pt x="16" y="56"/>
                          </a:cubicBezTo>
                          <a:cubicBezTo>
                            <a:pt x="16" y="77"/>
                            <a:pt x="34" y="95"/>
                            <a:pt x="56" y="95"/>
                          </a:cubicBezTo>
                          <a:cubicBezTo>
                            <a:pt x="77" y="95"/>
                            <a:pt x="95" y="77"/>
                            <a:pt x="95" y="56"/>
                          </a:cubicBezTo>
                          <a:cubicBezTo>
                            <a:pt x="95" y="34"/>
                            <a:pt x="77" y="16"/>
                            <a:pt x="56" y="16"/>
                          </a:cubicBezTo>
                          <a:close/>
                          <a:moveTo>
                            <a:pt x="56" y="0"/>
                          </a:moveTo>
                          <a:cubicBezTo>
                            <a:pt x="86" y="0"/>
                            <a:pt x="111" y="25"/>
                            <a:pt x="111" y="56"/>
                          </a:cubicBezTo>
                          <a:cubicBezTo>
                            <a:pt x="111" y="65"/>
                            <a:pt x="109" y="73"/>
                            <a:pt x="105" y="81"/>
                          </a:cubicBezTo>
                          <a:cubicBezTo>
                            <a:pt x="105" y="81"/>
                            <a:pt x="106" y="82"/>
                            <a:pt x="106" y="82"/>
                          </a:cubicBezTo>
                          <a:cubicBezTo>
                            <a:pt x="112" y="88"/>
                            <a:pt x="112" y="88"/>
                            <a:pt x="112" y="88"/>
                          </a:cubicBezTo>
                          <a:cubicBezTo>
                            <a:pt x="109" y="96"/>
                            <a:pt x="104" y="106"/>
                            <a:pt x="105" y="110"/>
                          </a:cubicBezTo>
                          <a:cubicBezTo>
                            <a:pt x="100" y="111"/>
                            <a:pt x="97" y="115"/>
                            <a:pt x="94" y="118"/>
                          </a:cubicBezTo>
                          <a:cubicBezTo>
                            <a:pt x="82" y="106"/>
                            <a:pt x="82" y="106"/>
                            <a:pt x="82" y="106"/>
                          </a:cubicBezTo>
                          <a:cubicBezTo>
                            <a:pt x="81" y="105"/>
                            <a:pt x="81" y="105"/>
                            <a:pt x="81" y="105"/>
                          </a:cubicBezTo>
                          <a:cubicBezTo>
                            <a:pt x="73" y="109"/>
                            <a:pt x="65" y="111"/>
                            <a:pt x="56" y="111"/>
                          </a:cubicBezTo>
                          <a:cubicBezTo>
                            <a:pt x="25" y="111"/>
                            <a:pt x="0" y="86"/>
                            <a:pt x="0" y="56"/>
                          </a:cubicBezTo>
                          <a:cubicBezTo>
                            <a:pt x="0" y="25"/>
                            <a:pt x="25" y="0"/>
                            <a:pt x="56" y="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1" name="Freeform 227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575277" y="352539"/>
                      <a:ext cx="135346" cy="141859"/>
                    </a:xfrm>
                    <a:custGeom>
                      <a:avLst/>
                      <a:gdLst>
                        <a:gd name="T0" fmla="*/ 0 w 93"/>
                        <a:gd name="T1" fmla="*/ 23 h 94"/>
                        <a:gd name="T2" fmla="*/ 46 w 93"/>
                        <a:gd name="T3" fmla="*/ 23 h 94"/>
                        <a:gd name="T4" fmla="*/ 46 w 93"/>
                        <a:gd name="T5" fmla="*/ 0 h 94"/>
                        <a:gd name="T6" fmla="*/ 93 w 93"/>
                        <a:gd name="T7" fmla="*/ 47 h 94"/>
                        <a:gd name="T8" fmla="*/ 46 w 93"/>
                        <a:gd name="T9" fmla="*/ 94 h 94"/>
                        <a:gd name="T10" fmla="*/ 46 w 93"/>
                        <a:gd name="T11" fmla="*/ 71 h 94"/>
                        <a:gd name="T12" fmla="*/ 0 w 93"/>
                        <a:gd name="T13" fmla="*/ 71 h 94"/>
                        <a:gd name="T14" fmla="*/ 0 w 93"/>
                        <a:gd name="T15" fmla="*/ 23 h 94"/>
                        <a:gd name="T16" fmla="*/ 0 w 93"/>
                        <a:gd name="T17" fmla="*/ 23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" h="94">
                          <a:moveTo>
                            <a:pt x="0" y="23"/>
                          </a:moveTo>
                          <a:lnTo>
                            <a:pt x="46" y="23"/>
                          </a:lnTo>
                          <a:lnTo>
                            <a:pt x="46" y="0"/>
                          </a:lnTo>
                          <a:lnTo>
                            <a:pt x="93" y="47"/>
                          </a:lnTo>
                          <a:lnTo>
                            <a:pt x="46" y="94"/>
                          </a:lnTo>
                          <a:lnTo>
                            <a:pt x="46" y="71"/>
                          </a:lnTo>
                          <a:lnTo>
                            <a:pt x="0" y="71"/>
                          </a:lnTo>
                          <a:lnTo>
                            <a:pt x="0" y="23"/>
                          </a:lnTo>
                          <a:lnTo>
                            <a:pt x="0" y="23"/>
                          </a:ln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2" name="Freeform 228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081949" y="1032392"/>
                      <a:ext cx="136801" cy="89039"/>
                    </a:xfrm>
                    <a:custGeom>
                      <a:avLst/>
                      <a:gdLst>
                        <a:gd name="T0" fmla="*/ 94 w 94"/>
                        <a:gd name="T1" fmla="*/ 15 h 59"/>
                        <a:gd name="T2" fmla="*/ 30 w 94"/>
                        <a:gd name="T3" fmla="*/ 15 h 59"/>
                        <a:gd name="T4" fmla="*/ 30 w 94"/>
                        <a:gd name="T5" fmla="*/ 0 h 59"/>
                        <a:gd name="T6" fmla="*/ 0 w 94"/>
                        <a:gd name="T7" fmla="*/ 29 h 59"/>
                        <a:gd name="T8" fmla="*/ 30 w 94"/>
                        <a:gd name="T9" fmla="*/ 59 h 59"/>
                        <a:gd name="T10" fmla="*/ 30 w 94"/>
                        <a:gd name="T11" fmla="*/ 44 h 59"/>
                        <a:gd name="T12" fmla="*/ 94 w 94"/>
                        <a:gd name="T13" fmla="*/ 44 h 59"/>
                        <a:gd name="T14" fmla="*/ 94 w 94"/>
                        <a:gd name="T15" fmla="*/ 15 h 59"/>
                        <a:gd name="T16" fmla="*/ 94 w 94"/>
                        <a:gd name="T17" fmla="*/ 15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4" h="59">
                          <a:moveTo>
                            <a:pt x="94" y="15"/>
                          </a:moveTo>
                          <a:lnTo>
                            <a:pt x="30" y="15"/>
                          </a:lnTo>
                          <a:lnTo>
                            <a:pt x="30" y="0"/>
                          </a:lnTo>
                          <a:lnTo>
                            <a:pt x="0" y="29"/>
                          </a:lnTo>
                          <a:lnTo>
                            <a:pt x="30" y="59"/>
                          </a:lnTo>
                          <a:lnTo>
                            <a:pt x="30" y="44"/>
                          </a:lnTo>
                          <a:lnTo>
                            <a:pt x="94" y="44"/>
                          </a:lnTo>
                          <a:lnTo>
                            <a:pt x="94" y="15"/>
                          </a:lnTo>
                          <a:lnTo>
                            <a:pt x="94" y="15"/>
                          </a:lnTo>
                          <a:close/>
                        </a:path>
                      </a:pathLst>
                    </a:custGeom>
                    <a:solidFill>
                      <a:srgbClr val="51515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3" name="Rectangle 229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574637" y="94138"/>
                      <a:ext cx="82954" cy="37728"/>
                    </a:xfrm>
                    <a:prstGeom prst="rect">
                      <a:avLst/>
                    </a:pr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4" name="Freeform 23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79003" y="-4768"/>
                      <a:ext cx="74222" cy="116203"/>
                    </a:xfrm>
                    <a:custGeom>
                      <a:avLst/>
                      <a:gdLst>
                        <a:gd name="T0" fmla="*/ 51 w 51"/>
                        <a:gd name="T1" fmla="*/ 77 h 77"/>
                        <a:gd name="T2" fmla="*/ 0 w 51"/>
                        <a:gd name="T3" fmla="*/ 38 h 77"/>
                        <a:gd name="T4" fmla="*/ 51 w 51"/>
                        <a:gd name="T5" fmla="*/ 0 h 77"/>
                        <a:gd name="T6" fmla="*/ 51 w 51"/>
                        <a:gd name="T7" fmla="*/ 77 h 77"/>
                        <a:gd name="T8" fmla="*/ 51 w 51"/>
                        <a:gd name="T9" fmla="*/ 77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1" h="77">
                          <a:moveTo>
                            <a:pt x="51" y="77"/>
                          </a:moveTo>
                          <a:lnTo>
                            <a:pt x="0" y="38"/>
                          </a:lnTo>
                          <a:lnTo>
                            <a:pt x="51" y="0"/>
                          </a:lnTo>
                          <a:lnTo>
                            <a:pt x="51" y="77"/>
                          </a:lnTo>
                          <a:lnTo>
                            <a:pt x="51" y="77"/>
                          </a:ln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5" name="Freeform 231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289644" y="565473"/>
                      <a:ext cx="106240" cy="75457"/>
                    </a:xfrm>
                    <a:custGeom>
                      <a:avLst/>
                      <a:gdLst>
                        <a:gd name="T0" fmla="*/ 41 w 73"/>
                        <a:gd name="T1" fmla="*/ 0 h 50"/>
                        <a:gd name="T2" fmla="*/ 41 w 73"/>
                        <a:gd name="T3" fmla="*/ 50 h 50"/>
                        <a:gd name="T4" fmla="*/ 73 w 73"/>
                        <a:gd name="T5" fmla="*/ 26 h 50"/>
                        <a:gd name="T6" fmla="*/ 41 w 73"/>
                        <a:gd name="T7" fmla="*/ 0 h 50"/>
                        <a:gd name="T8" fmla="*/ 41 w 73"/>
                        <a:gd name="T9" fmla="*/ 0 h 50"/>
                        <a:gd name="T10" fmla="*/ 41 w 73"/>
                        <a:gd name="T11" fmla="*/ 0 h 50"/>
                        <a:gd name="T12" fmla="*/ 32 w 73"/>
                        <a:gd name="T13" fmla="*/ 26 h 50"/>
                        <a:gd name="T14" fmla="*/ 0 w 73"/>
                        <a:gd name="T15" fmla="*/ 50 h 50"/>
                        <a:gd name="T16" fmla="*/ 0 w 73"/>
                        <a:gd name="T17" fmla="*/ 0 h 50"/>
                        <a:gd name="T18" fmla="*/ 32 w 73"/>
                        <a:gd name="T19" fmla="*/ 26 h 50"/>
                        <a:gd name="T20" fmla="*/ 32 w 73"/>
                        <a:gd name="T21" fmla="*/ 26 h 50"/>
                        <a:gd name="T22" fmla="*/ 32 w 73"/>
                        <a:gd name="T23" fmla="*/ 26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73" h="50">
                          <a:moveTo>
                            <a:pt x="41" y="0"/>
                          </a:moveTo>
                          <a:lnTo>
                            <a:pt x="41" y="50"/>
                          </a:lnTo>
                          <a:lnTo>
                            <a:pt x="73" y="26"/>
                          </a:lnTo>
                          <a:lnTo>
                            <a:pt x="41" y="0"/>
                          </a:lnTo>
                          <a:lnTo>
                            <a:pt x="41" y="0"/>
                          </a:lnTo>
                          <a:lnTo>
                            <a:pt x="41" y="0"/>
                          </a:lnTo>
                          <a:close/>
                          <a:moveTo>
                            <a:pt x="32" y="26"/>
                          </a:moveTo>
                          <a:lnTo>
                            <a:pt x="0" y="50"/>
                          </a:lnTo>
                          <a:lnTo>
                            <a:pt x="0" y="0"/>
                          </a:lnTo>
                          <a:lnTo>
                            <a:pt x="32" y="26"/>
                          </a:lnTo>
                          <a:lnTo>
                            <a:pt x="32" y="26"/>
                          </a:lnTo>
                          <a:lnTo>
                            <a:pt x="32" y="26"/>
                          </a:ln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66" name="Group 665"/>
                    <p:cNvGrpSpPr/>
                    <p:nvPr/>
                  </p:nvGrpSpPr>
                  <p:grpSpPr>
                    <a:xfrm rot="16200000">
                      <a:off x="10598176" y="1571948"/>
                      <a:ext cx="313901" cy="133891"/>
                      <a:chOff x="10648560" y="1439289"/>
                      <a:chExt cx="313901" cy="133891"/>
                    </a:xfrm>
                  </p:grpSpPr>
                  <p:sp>
                    <p:nvSpPr>
                      <p:cNvPr id="686" name="Freeform 233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0847925" y="1485053"/>
                        <a:ext cx="90231" cy="45274"/>
                      </a:xfrm>
                      <a:custGeom>
                        <a:avLst/>
                        <a:gdLst>
                          <a:gd name="T0" fmla="*/ 0 w 83"/>
                          <a:gd name="T1" fmla="*/ 21 h 39"/>
                          <a:gd name="T2" fmla="*/ 0 w 83"/>
                          <a:gd name="T3" fmla="*/ 21 h 39"/>
                          <a:gd name="T4" fmla="*/ 0 w 83"/>
                          <a:gd name="T5" fmla="*/ 21 h 39"/>
                          <a:gd name="T6" fmla="*/ 32 w 83"/>
                          <a:gd name="T7" fmla="*/ 0 h 39"/>
                          <a:gd name="T8" fmla="*/ 42 w 83"/>
                          <a:gd name="T9" fmla="*/ 16 h 39"/>
                          <a:gd name="T10" fmla="*/ 51 w 83"/>
                          <a:gd name="T11" fmla="*/ 0 h 39"/>
                          <a:gd name="T12" fmla="*/ 64 w 83"/>
                          <a:gd name="T13" fmla="*/ 3 h 39"/>
                          <a:gd name="T14" fmla="*/ 83 w 83"/>
                          <a:gd name="T15" fmla="*/ 21 h 39"/>
                          <a:gd name="T16" fmla="*/ 83 w 83"/>
                          <a:gd name="T17" fmla="*/ 21 h 39"/>
                          <a:gd name="T18" fmla="*/ 64 w 83"/>
                          <a:gd name="T19" fmla="*/ 39 h 39"/>
                          <a:gd name="T20" fmla="*/ 19 w 83"/>
                          <a:gd name="T21" fmla="*/ 39 h 39"/>
                          <a:gd name="T22" fmla="*/ 0 w 83"/>
                          <a:gd name="T23" fmla="*/ 21 h 39"/>
                          <a:gd name="T24" fmla="*/ 19 w 83"/>
                          <a:gd name="T25" fmla="*/ 3 h 39"/>
                          <a:gd name="T26" fmla="*/ 32 w 83"/>
                          <a:gd name="T27" fmla="*/ 0 h 3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</a:cxnLst>
                        <a:rect l="0" t="0" r="r" b="b"/>
                        <a:pathLst>
                          <a:path w="83" h="39">
                            <a:moveTo>
                              <a:pt x="0" y="21"/>
                            </a:moveTo>
                            <a:cubicBezTo>
                              <a:pt x="0" y="21"/>
                              <a:pt x="0" y="21"/>
                              <a:pt x="0" y="21"/>
                            </a:cubicBezTo>
                            <a:cubicBezTo>
                              <a:pt x="0" y="21"/>
                              <a:pt x="0" y="21"/>
                              <a:pt x="0" y="21"/>
                            </a:cubicBezTo>
                            <a:close/>
                            <a:moveTo>
                              <a:pt x="32" y="0"/>
                            </a:moveTo>
                            <a:cubicBezTo>
                              <a:pt x="42" y="16"/>
                              <a:pt x="42" y="16"/>
                              <a:pt x="42" y="16"/>
                            </a:cubicBezTo>
                            <a:cubicBezTo>
                              <a:pt x="51" y="0"/>
                              <a:pt x="51" y="0"/>
                              <a:pt x="51" y="0"/>
                            </a:cubicBezTo>
                            <a:cubicBezTo>
                              <a:pt x="55" y="1"/>
                              <a:pt x="60" y="3"/>
                              <a:pt x="64" y="3"/>
                            </a:cubicBezTo>
                            <a:cubicBezTo>
                              <a:pt x="74" y="3"/>
                              <a:pt x="83" y="11"/>
                              <a:pt x="83" y="21"/>
                            </a:cubicBezTo>
                            <a:cubicBezTo>
                              <a:pt x="83" y="21"/>
                              <a:pt x="83" y="21"/>
                              <a:pt x="83" y="21"/>
                            </a:cubicBezTo>
                            <a:cubicBezTo>
                              <a:pt x="83" y="31"/>
                              <a:pt x="74" y="39"/>
                              <a:pt x="64" y="39"/>
                            </a:cubicBezTo>
                            <a:cubicBezTo>
                              <a:pt x="19" y="39"/>
                              <a:pt x="19" y="39"/>
                              <a:pt x="19" y="39"/>
                            </a:cubicBezTo>
                            <a:cubicBezTo>
                              <a:pt x="9" y="39"/>
                              <a:pt x="0" y="31"/>
                              <a:pt x="0" y="21"/>
                            </a:cubicBezTo>
                            <a:cubicBezTo>
                              <a:pt x="0" y="11"/>
                              <a:pt x="9" y="3"/>
                              <a:pt x="19" y="3"/>
                            </a:cubicBezTo>
                            <a:cubicBezTo>
                              <a:pt x="23" y="3"/>
                              <a:pt x="28" y="1"/>
                              <a:pt x="32" y="0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grpSp>
                    <p:nvGrpSpPr>
                      <p:cNvPr id="687" name="Group 686"/>
                      <p:cNvGrpSpPr/>
                      <p:nvPr/>
                    </p:nvGrpSpPr>
                    <p:grpSpPr>
                      <a:xfrm>
                        <a:off x="10648560" y="1439289"/>
                        <a:ext cx="313901" cy="133891"/>
                        <a:chOff x="10648560" y="1439289"/>
                        <a:chExt cx="313901" cy="133891"/>
                      </a:xfrm>
                    </p:grpSpPr>
                    <p:sp>
                      <p:nvSpPr>
                        <p:cNvPr id="688" name="Oval 232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 rot="5400000">
                          <a:off x="10921632" y="1484325"/>
                          <a:ext cx="36384" cy="45274"/>
                        </a:xfrm>
                        <a:prstGeom prst="ellipse">
                          <a:avLst/>
                        </a:pr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89" name="Freeform 234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90256" y="1459397"/>
                          <a:ext cx="72767" cy="96585"/>
                        </a:xfrm>
                        <a:custGeom>
                          <a:avLst/>
                          <a:gdLst>
                            <a:gd name="T0" fmla="*/ 0 w 67"/>
                            <a:gd name="T1" fmla="*/ 0 h 85"/>
                            <a:gd name="T2" fmla="*/ 67 w 67"/>
                            <a:gd name="T3" fmla="*/ 0 h 85"/>
                            <a:gd name="T4" fmla="*/ 67 w 67"/>
                            <a:gd name="T5" fmla="*/ 23 h 85"/>
                            <a:gd name="T6" fmla="*/ 56 w 67"/>
                            <a:gd name="T7" fmla="*/ 47 h 85"/>
                            <a:gd name="T8" fmla="*/ 62 w 67"/>
                            <a:gd name="T9" fmla="*/ 62 h 85"/>
                            <a:gd name="T10" fmla="*/ 67 w 67"/>
                            <a:gd name="T11" fmla="*/ 63 h 85"/>
                            <a:gd name="T12" fmla="*/ 67 w 67"/>
                            <a:gd name="T13" fmla="*/ 71 h 85"/>
                            <a:gd name="T14" fmla="*/ 67 w 67"/>
                            <a:gd name="T15" fmla="*/ 79 h 85"/>
                            <a:gd name="T16" fmla="*/ 67 w 67"/>
                            <a:gd name="T17" fmla="*/ 85 h 85"/>
                            <a:gd name="T18" fmla="*/ 0 w 67"/>
                            <a:gd name="T19" fmla="*/ 85 h 85"/>
                            <a:gd name="T20" fmla="*/ 0 w 67"/>
                            <a:gd name="T21" fmla="*/ 79 h 85"/>
                            <a:gd name="T22" fmla="*/ 0 w 67"/>
                            <a:gd name="T23" fmla="*/ 71 h 85"/>
                            <a:gd name="T24" fmla="*/ 0 w 67"/>
                            <a:gd name="T25" fmla="*/ 63 h 85"/>
                            <a:gd name="T26" fmla="*/ 5 w 67"/>
                            <a:gd name="T27" fmla="*/ 62 h 85"/>
                            <a:gd name="T28" fmla="*/ 11 w 67"/>
                            <a:gd name="T29" fmla="*/ 47 h 85"/>
                            <a:gd name="T30" fmla="*/ 0 w 67"/>
                            <a:gd name="T31" fmla="*/ 23 h 85"/>
                            <a:gd name="T32" fmla="*/ 0 w 67"/>
                            <a:gd name="T33" fmla="*/ 0 h 8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</a:cxnLst>
                          <a:rect l="0" t="0" r="r" b="b"/>
                          <a:pathLst>
                            <a:path w="67" h="85">
                              <a:moveTo>
                                <a:pt x="0" y="0"/>
                              </a:moveTo>
                              <a:cubicBezTo>
                                <a:pt x="67" y="0"/>
                                <a:pt x="67" y="0"/>
                                <a:pt x="67" y="0"/>
                              </a:cubicBezTo>
                              <a:cubicBezTo>
                                <a:pt x="67" y="23"/>
                                <a:pt x="67" y="23"/>
                                <a:pt x="67" y="23"/>
                              </a:cubicBezTo>
                              <a:cubicBezTo>
                                <a:pt x="56" y="47"/>
                                <a:pt x="56" y="47"/>
                                <a:pt x="56" y="47"/>
                              </a:cubicBezTo>
                              <a:cubicBezTo>
                                <a:pt x="54" y="52"/>
                                <a:pt x="56" y="59"/>
                                <a:pt x="62" y="62"/>
                              </a:cubicBezTo>
                              <a:cubicBezTo>
                                <a:pt x="64" y="63"/>
                                <a:pt x="66" y="63"/>
                                <a:pt x="67" y="63"/>
                              </a:cubicBezTo>
                              <a:cubicBezTo>
                                <a:pt x="67" y="71"/>
                                <a:pt x="67" y="71"/>
                                <a:pt x="67" y="71"/>
                              </a:cubicBezTo>
                              <a:cubicBezTo>
                                <a:pt x="67" y="79"/>
                                <a:pt x="67" y="79"/>
                                <a:pt x="67" y="79"/>
                              </a:cubicBezTo>
                              <a:cubicBezTo>
                                <a:pt x="67" y="85"/>
                                <a:pt x="67" y="85"/>
                                <a:pt x="67" y="85"/>
                              </a:cubicBezTo>
                              <a:cubicBezTo>
                                <a:pt x="0" y="85"/>
                                <a:pt x="0" y="85"/>
                                <a:pt x="0" y="85"/>
                              </a:cubicBezTo>
                              <a:cubicBezTo>
                                <a:pt x="0" y="79"/>
                                <a:pt x="0" y="79"/>
                                <a:pt x="0" y="79"/>
                              </a:cubicBezTo>
                              <a:cubicBezTo>
                                <a:pt x="0" y="71"/>
                                <a:pt x="0" y="71"/>
                                <a:pt x="0" y="71"/>
                              </a:cubicBezTo>
                              <a:cubicBezTo>
                                <a:pt x="0" y="63"/>
                                <a:pt x="0" y="63"/>
                                <a:pt x="0" y="63"/>
                              </a:cubicBezTo>
                              <a:cubicBezTo>
                                <a:pt x="1" y="63"/>
                                <a:pt x="3" y="63"/>
                                <a:pt x="5" y="62"/>
                              </a:cubicBezTo>
                              <a:cubicBezTo>
                                <a:pt x="11" y="59"/>
                                <a:pt x="13" y="52"/>
                                <a:pt x="11" y="47"/>
                              </a:cubicBezTo>
                              <a:cubicBezTo>
                                <a:pt x="0" y="23"/>
                                <a:pt x="0" y="23"/>
                                <a:pt x="0" y="23"/>
                              </a:cubicBezTo>
                              <a:cubicBezTo>
                                <a:pt x="0" y="0"/>
                                <a:pt x="0" y="0"/>
                                <a:pt x="0" y="0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0" name="Freeform 235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07901" y="1416331"/>
                          <a:ext cx="26196" cy="144877"/>
                        </a:xfrm>
                        <a:custGeom>
                          <a:avLst/>
                          <a:gdLst>
                            <a:gd name="T0" fmla="*/ 0 w 23"/>
                            <a:gd name="T1" fmla="*/ 12 h 127"/>
                            <a:gd name="T2" fmla="*/ 12 w 23"/>
                            <a:gd name="T3" fmla="*/ 0 h 127"/>
                            <a:gd name="T4" fmla="*/ 12 w 23"/>
                            <a:gd name="T5" fmla="*/ 0 h 127"/>
                            <a:gd name="T6" fmla="*/ 23 w 23"/>
                            <a:gd name="T7" fmla="*/ 12 h 127"/>
                            <a:gd name="T8" fmla="*/ 23 w 23"/>
                            <a:gd name="T9" fmla="*/ 115 h 127"/>
                            <a:gd name="T10" fmla="*/ 12 w 23"/>
                            <a:gd name="T11" fmla="*/ 127 h 127"/>
                            <a:gd name="T12" fmla="*/ 12 w 23"/>
                            <a:gd name="T13" fmla="*/ 127 h 127"/>
                            <a:gd name="T14" fmla="*/ 0 w 23"/>
                            <a:gd name="T15" fmla="*/ 115 h 127"/>
                            <a:gd name="T16" fmla="*/ 0 w 23"/>
                            <a:gd name="T17" fmla="*/ 12 h 1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3" h="127">
                              <a:moveTo>
                                <a:pt x="0" y="12"/>
                              </a:moveTo>
                              <a:cubicBezTo>
                                <a:pt x="0" y="6"/>
                                <a:pt x="6" y="0"/>
                                <a:pt x="12" y="0"/>
                              </a:cubicBezTo>
                              <a:cubicBezTo>
                                <a:pt x="12" y="0"/>
                                <a:pt x="12" y="0"/>
                                <a:pt x="12" y="0"/>
                              </a:cubicBezTo>
                              <a:cubicBezTo>
                                <a:pt x="18" y="0"/>
                                <a:pt x="23" y="6"/>
                                <a:pt x="23" y="12"/>
                              </a:cubicBezTo>
                              <a:cubicBezTo>
                                <a:pt x="23" y="115"/>
                                <a:pt x="23" y="115"/>
                                <a:pt x="23" y="115"/>
                              </a:cubicBezTo>
                              <a:cubicBezTo>
                                <a:pt x="23" y="121"/>
                                <a:pt x="18" y="127"/>
                                <a:pt x="12" y="127"/>
                              </a:cubicBezTo>
                              <a:cubicBezTo>
                                <a:pt x="12" y="127"/>
                                <a:pt x="12" y="127"/>
                                <a:pt x="12" y="127"/>
                              </a:cubicBezTo>
                              <a:cubicBezTo>
                                <a:pt x="6" y="127"/>
                                <a:pt x="0" y="121"/>
                                <a:pt x="0" y="115"/>
                              </a:cubicBez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1" name="Freeform 236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08629" y="1453442"/>
                          <a:ext cx="24741" cy="144877"/>
                        </a:xfrm>
                        <a:custGeom>
                          <a:avLst/>
                          <a:gdLst>
                            <a:gd name="T0" fmla="*/ 0 w 23"/>
                            <a:gd name="T1" fmla="*/ 12 h 127"/>
                            <a:gd name="T2" fmla="*/ 11 w 23"/>
                            <a:gd name="T3" fmla="*/ 0 h 127"/>
                            <a:gd name="T4" fmla="*/ 11 w 23"/>
                            <a:gd name="T5" fmla="*/ 0 h 127"/>
                            <a:gd name="T6" fmla="*/ 23 w 23"/>
                            <a:gd name="T7" fmla="*/ 12 h 127"/>
                            <a:gd name="T8" fmla="*/ 23 w 23"/>
                            <a:gd name="T9" fmla="*/ 115 h 127"/>
                            <a:gd name="T10" fmla="*/ 11 w 23"/>
                            <a:gd name="T11" fmla="*/ 127 h 127"/>
                            <a:gd name="T12" fmla="*/ 11 w 23"/>
                            <a:gd name="T13" fmla="*/ 127 h 127"/>
                            <a:gd name="T14" fmla="*/ 0 w 23"/>
                            <a:gd name="T15" fmla="*/ 115 h 127"/>
                            <a:gd name="T16" fmla="*/ 0 w 23"/>
                            <a:gd name="T17" fmla="*/ 12 h 1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3" h="127">
                              <a:moveTo>
                                <a:pt x="0" y="12"/>
                              </a:moveTo>
                              <a:cubicBezTo>
                                <a:pt x="0" y="6"/>
                                <a:pt x="5" y="0"/>
                                <a:pt x="11" y="0"/>
                              </a:cubicBezTo>
                              <a:cubicBezTo>
                                <a:pt x="11" y="0"/>
                                <a:pt x="11" y="0"/>
                                <a:pt x="11" y="0"/>
                              </a:cubicBezTo>
                              <a:cubicBezTo>
                                <a:pt x="17" y="0"/>
                                <a:pt x="23" y="6"/>
                                <a:pt x="23" y="12"/>
                              </a:cubicBezTo>
                              <a:cubicBezTo>
                                <a:pt x="23" y="115"/>
                                <a:pt x="23" y="115"/>
                                <a:pt x="23" y="115"/>
                              </a:cubicBezTo>
                              <a:cubicBezTo>
                                <a:pt x="23" y="121"/>
                                <a:pt x="17" y="127"/>
                                <a:pt x="11" y="127"/>
                              </a:cubicBezTo>
                              <a:cubicBezTo>
                                <a:pt x="11" y="127"/>
                                <a:pt x="11" y="127"/>
                                <a:pt x="11" y="127"/>
                              </a:cubicBezTo>
                              <a:cubicBezTo>
                                <a:pt x="5" y="127"/>
                                <a:pt x="0" y="121"/>
                                <a:pt x="0" y="115"/>
                              </a:cubicBez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2" name="Freeform 237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53883" y="1518930"/>
                          <a:ext cx="45116" cy="63384"/>
                        </a:xfrm>
                        <a:custGeom>
                          <a:avLst/>
                          <a:gdLst>
                            <a:gd name="T0" fmla="*/ 3 w 41"/>
                            <a:gd name="T1" fmla="*/ 15 h 56"/>
                            <a:gd name="T2" fmla="*/ 6 w 41"/>
                            <a:gd name="T3" fmla="*/ 2 h 56"/>
                            <a:gd name="T4" fmla="*/ 6 w 41"/>
                            <a:gd name="T5" fmla="*/ 2 h 56"/>
                            <a:gd name="T6" fmla="*/ 19 w 41"/>
                            <a:gd name="T7" fmla="*/ 6 h 56"/>
                            <a:gd name="T8" fmla="*/ 39 w 41"/>
                            <a:gd name="T9" fmla="*/ 40 h 56"/>
                            <a:gd name="T10" fmla="*/ 35 w 41"/>
                            <a:gd name="T11" fmla="*/ 53 h 56"/>
                            <a:gd name="T12" fmla="*/ 35 w 41"/>
                            <a:gd name="T13" fmla="*/ 53 h 56"/>
                            <a:gd name="T14" fmla="*/ 23 w 41"/>
                            <a:gd name="T15" fmla="*/ 49 h 56"/>
                            <a:gd name="T16" fmla="*/ 3 w 41"/>
                            <a:gd name="T17" fmla="*/ 15 h 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1" h="56">
                              <a:moveTo>
                                <a:pt x="3" y="15"/>
                              </a:moveTo>
                              <a:cubicBezTo>
                                <a:pt x="0" y="11"/>
                                <a:pt x="2" y="5"/>
                                <a:pt x="6" y="2"/>
                              </a:cubicBezTo>
                              <a:cubicBezTo>
                                <a:pt x="6" y="2"/>
                                <a:pt x="6" y="2"/>
                                <a:pt x="6" y="2"/>
                              </a:cubicBezTo>
                              <a:cubicBezTo>
                                <a:pt x="11" y="0"/>
                                <a:pt x="17" y="1"/>
                                <a:pt x="19" y="6"/>
                              </a:cubicBezTo>
                              <a:cubicBezTo>
                                <a:pt x="39" y="40"/>
                                <a:pt x="39" y="40"/>
                                <a:pt x="39" y="40"/>
                              </a:cubicBezTo>
                              <a:cubicBezTo>
                                <a:pt x="41" y="45"/>
                                <a:pt x="40" y="50"/>
                                <a:pt x="35" y="53"/>
                              </a:cubicBezTo>
                              <a:cubicBezTo>
                                <a:pt x="35" y="53"/>
                                <a:pt x="35" y="53"/>
                                <a:pt x="35" y="53"/>
                              </a:cubicBezTo>
                              <a:cubicBezTo>
                                <a:pt x="31" y="56"/>
                                <a:pt x="25" y="54"/>
                                <a:pt x="23" y="49"/>
                              </a:cubicBezTo>
                              <a:lnTo>
                                <a:pt x="3" y="1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3" name="Freeform 238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16047" y="1523350"/>
                          <a:ext cx="39294" cy="60365"/>
                        </a:xfrm>
                        <a:custGeom>
                          <a:avLst/>
                          <a:gdLst>
                            <a:gd name="T0" fmla="*/ 19 w 36"/>
                            <a:gd name="T1" fmla="*/ 6 h 54"/>
                            <a:gd name="T2" fmla="*/ 30 w 36"/>
                            <a:gd name="T3" fmla="*/ 2 h 54"/>
                            <a:gd name="T4" fmla="*/ 30 w 36"/>
                            <a:gd name="T5" fmla="*/ 2 h 54"/>
                            <a:gd name="T6" fmla="*/ 34 w 36"/>
                            <a:gd name="T7" fmla="*/ 13 h 54"/>
                            <a:gd name="T8" fmla="*/ 18 w 36"/>
                            <a:gd name="T9" fmla="*/ 48 h 54"/>
                            <a:gd name="T10" fmla="*/ 6 w 36"/>
                            <a:gd name="T11" fmla="*/ 52 h 54"/>
                            <a:gd name="T12" fmla="*/ 6 w 36"/>
                            <a:gd name="T13" fmla="*/ 52 h 54"/>
                            <a:gd name="T14" fmla="*/ 2 w 36"/>
                            <a:gd name="T15" fmla="*/ 41 h 54"/>
                            <a:gd name="T16" fmla="*/ 19 w 36"/>
                            <a:gd name="T17" fmla="*/ 6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6" h="54">
                              <a:moveTo>
                                <a:pt x="19" y="6"/>
                              </a:moveTo>
                              <a:cubicBezTo>
                                <a:pt x="21" y="1"/>
                                <a:pt x="26" y="0"/>
                                <a:pt x="30" y="2"/>
                              </a:cubicBezTo>
                              <a:cubicBezTo>
                                <a:pt x="30" y="2"/>
                                <a:pt x="30" y="2"/>
                                <a:pt x="30" y="2"/>
                              </a:cubicBezTo>
                              <a:cubicBezTo>
                                <a:pt x="34" y="4"/>
                                <a:pt x="36" y="9"/>
                                <a:pt x="34" y="13"/>
                              </a:cubicBezTo>
                              <a:cubicBezTo>
                                <a:pt x="18" y="48"/>
                                <a:pt x="18" y="48"/>
                                <a:pt x="18" y="48"/>
                              </a:cubicBezTo>
                              <a:cubicBezTo>
                                <a:pt x="16" y="52"/>
                                <a:pt x="11" y="54"/>
                                <a:pt x="6" y="52"/>
                              </a:cubicBezTo>
                              <a:cubicBezTo>
                                <a:pt x="6" y="52"/>
                                <a:pt x="6" y="52"/>
                                <a:pt x="6" y="52"/>
                              </a:cubicBezTo>
                              <a:cubicBezTo>
                                <a:pt x="2" y="50"/>
                                <a:pt x="0" y="45"/>
                                <a:pt x="2" y="41"/>
                              </a:cubicBezTo>
                              <a:lnTo>
                                <a:pt x="19" y="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4" name="Freeform 239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53155" y="1430883"/>
                          <a:ext cx="46571" cy="63384"/>
                        </a:xfrm>
                        <a:custGeom>
                          <a:avLst/>
                          <a:gdLst>
                            <a:gd name="T0" fmla="*/ 39 w 42"/>
                            <a:gd name="T1" fmla="*/ 15 h 56"/>
                            <a:gd name="T2" fmla="*/ 36 w 42"/>
                            <a:gd name="T3" fmla="*/ 2 h 56"/>
                            <a:gd name="T4" fmla="*/ 36 w 42"/>
                            <a:gd name="T5" fmla="*/ 2 h 56"/>
                            <a:gd name="T6" fmla="*/ 23 w 42"/>
                            <a:gd name="T7" fmla="*/ 6 h 56"/>
                            <a:gd name="T8" fmla="*/ 3 w 42"/>
                            <a:gd name="T9" fmla="*/ 40 h 56"/>
                            <a:gd name="T10" fmla="*/ 7 w 42"/>
                            <a:gd name="T11" fmla="*/ 53 h 56"/>
                            <a:gd name="T12" fmla="*/ 7 w 42"/>
                            <a:gd name="T13" fmla="*/ 53 h 56"/>
                            <a:gd name="T14" fmla="*/ 19 w 42"/>
                            <a:gd name="T15" fmla="*/ 49 h 56"/>
                            <a:gd name="T16" fmla="*/ 39 w 42"/>
                            <a:gd name="T17" fmla="*/ 15 h 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2" h="56">
                              <a:moveTo>
                                <a:pt x="39" y="15"/>
                              </a:moveTo>
                              <a:cubicBezTo>
                                <a:pt x="42" y="11"/>
                                <a:pt x="40" y="5"/>
                                <a:pt x="36" y="2"/>
                              </a:cubicBezTo>
                              <a:cubicBezTo>
                                <a:pt x="36" y="2"/>
                                <a:pt x="36" y="2"/>
                                <a:pt x="36" y="2"/>
                              </a:cubicBezTo>
                              <a:cubicBezTo>
                                <a:pt x="31" y="0"/>
                                <a:pt x="25" y="1"/>
                                <a:pt x="23" y="6"/>
                              </a:cubicBezTo>
                              <a:cubicBezTo>
                                <a:pt x="3" y="40"/>
                                <a:pt x="3" y="40"/>
                                <a:pt x="3" y="40"/>
                              </a:cubicBezTo>
                              <a:cubicBezTo>
                                <a:pt x="0" y="45"/>
                                <a:pt x="2" y="50"/>
                                <a:pt x="7" y="53"/>
                              </a:cubicBezTo>
                              <a:cubicBezTo>
                                <a:pt x="7" y="53"/>
                                <a:pt x="7" y="53"/>
                                <a:pt x="7" y="53"/>
                              </a:cubicBezTo>
                              <a:cubicBezTo>
                                <a:pt x="11" y="56"/>
                                <a:pt x="17" y="54"/>
                                <a:pt x="19" y="49"/>
                              </a:cubicBezTo>
                              <a:lnTo>
                                <a:pt x="39" y="1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5" name="Freeform 240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16047" y="1431664"/>
                          <a:ext cx="39294" cy="60365"/>
                        </a:xfrm>
                        <a:custGeom>
                          <a:avLst/>
                          <a:gdLst>
                            <a:gd name="T0" fmla="*/ 17 w 36"/>
                            <a:gd name="T1" fmla="*/ 6 h 54"/>
                            <a:gd name="T2" fmla="*/ 6 w 36"/>
                            <a:gd name="T3" fmla="*/ 2 h 54"/>
                            <a:gd name="T4" fmla="*/ 6 w 36"/>
                            <a:gd name="T5" fmla="*/ 2 h 54"/>
                            <a:gd name="T6" fmla="*/ 2 w 36"/>
                            <a:gd name="T7" fmla="*/ 13 h 54"/>
                            <a:gd name="T8" fmla="*/ 18 w 36"/>
                            <a:gd name="T9" fmla="*/ 48 h 54"/>
                            <a:gd name="T10" fmla="*/ 30 w 36"/>
                            <a:gd name="T11" fmla="*/ 52 h 54"/>
                            <a:gd name="T12" fmla="*/ 30 w 36"/>
                            <a:gd name="T13" fmla="*/ 52 h 54"/>
                            <a:gd name="T14" fmla="*/ 34 w 36"/>
                            <a:gd name="T15" fmla="*/ 41 h 54"/>
                            <a:gd name="T16" fmla="*/ 17 w 36"/>
                            <a:gd name="T17" fmla="*/ 6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6" h="54">
                              <a:moveTo>
                                <a:pt x="17" y="6"/>
                              </a:moveTo>
                              <a:cubicBezTo>
                                <a:pt x="15" y="1"/>
                                <a:pt x="10" y="0"/>
                                <a:pt x="6" y="2"/>
                              </a:cubicBezTo>
                              <a:cubicBezTo>
                                <a:pt x="6" y="2"/>
                                <a:pt x="6" y="2"/>
                                <a:pt x="6" y="2"/>
                              </a:cubicBezTo>
                              <a:cubicBezTo>
                                <a:pt x="1" y="4"/>
                                <a:pt x="0" y="9"/>
                                <a:pt x="2" y="13"/>
                              </a:cubicBezTo>
                              <a:cubicBezTo>
                                <a:pt x="18" y="48"/>
                                <a:pt x="18" y="48"/>
                                <a:pt x="18" y="48"/>
                              </a:cubicBezTo>
                              <a:cubicBezTo>
                                <a:pt x="20" y="52"/>
                                <a:pt x="25" y="54"/>
                                <a:pt x="30" y="52"/>
                              </a:cubicBezTo>
                              <a:cubicBezTo>
                                <a:pt x="30" y="52"/>
                                <a:pt x="30" y="52"/>
                                <a:pt x="30" y="52"/>
                              </a:cubicBezTo>
                              <a:cubicBezTo>
                                <a:pt x="34" y="50"/>
                                <a:pt x="36" y="45"/>
                                <a:pt x="34" y="41"/>
                              </a:cubicBezTo>
                              <a:lnTo>
                                <a:pt x="17" y="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sp>
                  <p:nvSpPr>
                    <p:cNvPr id="667" name="Freeform 24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2000421" y="1707561"/>
                      <a:ext cx="104784" cy="176569"/>
                    </a:xfrm>
                    <a:custGeom>
                      <a:avLst/>
                      <a:gdLst>
                        <a:gd name="T0" fmla="*/ 82 w 95"/>
                        <a:gd name="T1" fmla="*/ 13 h 155"/>
                        <a:gd name="T2" fmla="*/ 49 w 95"/>
                        <a:gd name="T3" fmla="*/ 0 h 155"/>
                        <a:gd name="T4" fmla="*/ 16 w 95"/>
                        <a:gd name="T5" fmla="*/ 13 h 155"/>
                        <a:gd name="T6" fmla="*/ 0 w 95"/>
                        <a:gd name="T7" fmla="*/ 46 h 155"/>
                        <a:gd name="T8" fmla="*/ 8 w 95"/>
                        <a:gd name="T9" fmla="*/ 75 h 155"/>
                        <a:gd name="T10" fmla="*/ 31 w 95"/>
                        <a:gd name="T11" fmla="*/ 106 h 155"/>
                        <a:gd name="T12" fmla="*/ 45 w 95"/>
                        <a:gd name="T13" fmla="*/ 155 h 155"/>
                        <a:gd name="T14" fmla="*/ 53 w 95"/>
                        <a:gd name="T15" fmla="*/ 155 h 155"/>
                        <a:gd name="T16" fmla="*/ 72 w 95"/>
                        <a:gd name="T17" fmla="*/ 95 h 155"/>
                        <a:gd name="T18" fmla="*/ 88 w 95"/>
                        <a:gd name="T19" fmla="*/ 75 h 155"/>
                        <a:gd name="T20" fmla="*/ 95 w 95"/>
                        <a:gd name="T21" fmla="*/ 46 h 155"/>
                        <a:gd name="T22" fmla="*/ 82 w 95"/>
                        <a:gd name="T23" fmla="*/ 13 h 155"/>
                        <a:gd name="T24" fmla="*/ 49 w 95"/>
                        <a:gd name="T25" fmla="*/ 71 h 155"/>
                        <a:gd name="T26" fmla="*/ 25 w 95"/>
                        <a:gd name="T27" fmla="*/ 48 h 155"/>
                        <a:gd name="T28" fmla="*/ 49 w 95"/>
                        <a:gd name="T29" fmla="*/ 27 h 155"/>
                        <a:gd name="T30" fmla="*/ 70 w 95"/>
                        <a:gd name="T31" fmla="*/ 48 h 155"/>
                        <a:gd name="T32" fmla="*/ 49 w 95"/>
                        <a:gd name="T33" fmla="*/ 71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95" h="155">
                          <a:moveTo>
                            <a:pt x="82" y="13"/>
                          </a:moveTo>
                          <a:cubicBezTo>
                            <a:pt x="72" y="6"/>
                            <a:pt x="60" y="0"/>
                            <a:pt x="49" y="0"/>
                          </a:cubicBezTo>
                          <a:cubicBezTo>
                            <a:pt x="35" y="0"/>
                            <a:pt x="24" y="6"/>
                            <a:pt x="16" y="13"/>
                          </a:cubicBezTo>
                          <a:cubicBezTo>
                            <a:pt x="6" y="23"/>
                            <a:pt x="0" y="35"/>
                            <a:pt x="0" y="46"/>
                          </a:cubicBezTo>
                          <a:cubicBezTo>
                            <a:pt x="0" y="58"/>
                            <a:pt x="4" y="68"/>
                            <a:pt x="8" y="75"/>
                          </a:cubicBezTo>
                          <a:cubicBezTo>
                            <a:pt x="16" y="87"/>
                            <a:pt x="24" y="95"/>
                            <a:pt x="31" y="106"/>
                          </a:cubicBezTo>
                          <a:cubicBezTo>
                            <a:pt x="39" y="118"/>
                            <a:pt x="45" y="132"/>
                            <a:pt x="45" y="155"/>
                          </a:cubicBezTo>
                          <a:cubicBezTo>
                            <a:pt x="53" y="155"/>
                            <a:pt x="53" y="155"/>
                            <a:pt x="53" y="155"/>
                          </a:cubicBezTo>
                          <a:cubicBezTo>
                            <a:pt x="53" y="124"/>
                            <a:pt x="62" y="108"/>
                            <a:pt x="72" y="95"/>
                          </a:cubicBezTo>
                          <a:cubicBezTo>
                            <a:pt x="78" y="89"/>
                            <a:pt x="84" y="83"/>
                            <a:pt x="88" y="75"/>
                          </a:cubicBezTo>
                          <a:cubicBezTo>
                            <a:pt x="93" y="68"/>
                            <a:pt x="95" y="58"/>
                            <a:pt x="95" y="46"/>
                          </a:cubicBezTo>
                          <a:cubicBezTo>
                            <a:pt x="95" y="35"/>
                            <a:pt x="89" y="23"/>
                            <a:pt x="82" y="13"/>
                          </a:cubicBezTo>
                          <a:close/>
                          <a:moveTo>
                            <a:pt x="49" y="71"/>
                          </a:moveTo>
                          <a:cubicBezTo>
                            <a:pt x="35" y="71"/>
                            <a:pt x="25" y="60"/>
                            <a:pt x="25" y="48"/>
                          </a:cubicBezTo>
                          <a:cubicBezTo>
                            <a:pt x="25" y="37"/>
                            <a:pt x="35" y="27"/>
                            <a:pt x="49" y="27"/>
                          </a:cubicBezTo>
                          <a:cubicBezTo>
                            <a:pt x="60" y="27"/>
                            <a:pt x="70" y="37"/>
                            <a:pt x="70" y="48"/>
                          </a:cubicBezTo>
                          <a:cubicBezTo>
                            <a:pt x="70" y="60"/>
                            <a:pt x="60" y="71"/>
                            <a:pt x="49" y="71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8" name="Freeform 242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571961" y="1163023"/>
                      <a:ext cx="71312" cy="149404"/>
                    </a:xfrm>
                    <a:custGeom>
                      <a:avLst/>
                      <a:gdLst>
                        <a:gd name="T0" fmla="*/ 24 w 49"/>
                        <a:gd name="T1" fmla="*/ 82 h 99"/>
                        <a:gd name="T2" fmla="*/ 27 w 49"/>
                        <a:gd name="T3" fmla="*/ 83 h 99"/>
                        <a:gd name="T4" fmla="*/ 29 w 49"/>
                        <a:gd name="T5" fmla="*/ 86 h 99"/>
                        <a:gd name="T6" fmla="*/ 31 w 49"/>
                        <a:gd name="T7" fmla="*/ 89 h 99"/>
                        <a:gd name="T8" fmla="*/ 30 w 49"/>
                        <a:gd name="T9" fmla="*/ 93 h 99"/>
                        <a:gd name="T10" fmla="*/ 28 w 49"/>
                        <a:gd name="T11" fmla="*/ 96 h 99"/>
                        <a:gd name="T12" fmla="*/ 25 w 49"/>
                        <a:gd name="T13" fmla="*/ 98 h 99"/>
                        <a:gd name="T14" fmla="*/ 22 w 49"/>
                        <a:gd name="T15" fmla="*/ 99 h 99"/>
                        <a:gd name="T16" fmla="*/ 18 w 49"/>
                        <a:gd name="T17" fmla="*/ 99 h 99"/>
                        <a:gd name="T18" fmla="*/ 15 w 49"/>
                        <a:gd name="T19" fmla="*/ 97 h 99"/>
                        <a:gd name="T20" fmla="*/ 13 w 49"/>
                        <a:gd name="T21" fmla="*/ 94 h 99"/>
                        <a:gd name="T22" fmla="*/ 11 w 49"/>
                        <a:gd name="T23" fmla="*/ 91 h 99"/>
                        <a:gd name="T24" fmla="*/ 12 w 49"/>
                        <a:gd name="T25" fmla="*/ 88 h 99"/>
                        <a:gd name="T26" fmla="*/ 13 w 49"/>
                        <a:gd name="T27" fmla="*/ 85 h 99"/>
                        <a:gd name="T28" fmla="*/ 16 w 49"/>
                        <a:gd name="T29" fmla="*/ 82 h 99"/>
                        <a:gd name="T30" fmla="*/ 20 w 49"/>
                        <a:gd name="T31" fmla="*/ 82 h 99"/>
                        <a:gd name="T32" fmla="*/ 21 w 49"/>
                        <a:gd name="T33" fmla="*/ 82 h 99"/>
                        <a:gd name="T34" fmla="*/ 26 w 49"/>
                        <a:gd name="T35" fmla="*/ 1 h 99"/>
                        <a:gd name="T36" fmla="*/ 31 w 49"/>
                        <a:gd name="T37" fmla="*/ 2 h 99"/>
                        <a:gd name="T38" fmla="*/ 36 w 49"/>
                        <a:gd name="T39" fmla="*/ 3 h 99"/>
                        <a:gd name="T40" fmla="*/ 41 w 49"/>
                        <a:gd name="T41" fmla="*/ 5 h 99"/>
                        <a:gd name="T42" fmla="*/ 44 w 49"/>
                        <a:gd name="T43" fmla="*/ 8 h 99"/>
                        <a:gd name="T44" fmla="*/ 47 w 49"/>
                        <a:gd name="T45" fmla="*/ 12 h 99"/>
                        <a:gd name="T46" fmla="*/ 48 w 49"/>
                        <a:gd name="T47" fmla="*/ 16 h 99"/>
                        <a:gd name="T48" fmla="*/ 49 w 49"/>
                        <a:gd name="T49" fmla="*/ 21 h 99"/>
                        <a:gd name="T50" fmla="*/ 49 w 49"/>
                        <a:gd name="T51" fmla="*/ 26 h 99"/>
                        <a:gd name="T52" fmla="*/ 47 w 49"/>
                        <a:gd name="T53" fmla="*/ 30 h 99"/>
                        <a:gd name="T54" fmla="*/ 46 w 49"/>
                        <a:gd name="T55" fmla="*/ 34 h 99"/>
                        <a:gd name="T56" fmla="*/ 44 w 49"/>
                        <a:gd name="T57" fmla="*/ 38 h 99"/>
                        <a:gd name="T58" fmla="*/ 38 w 49"/>
                        <a:gd name="T59" fmla="*/ 44 h 99"/>
                        <a:gd name="T60" fmla="*/ 33 w 49"/>
                        <a:gd name="T61" fmla="*/ 49 h 99"/>
                        <a:gd name="T62" fmla="*/ 29 w 49"/>
                        <a:gd name="T63" fmla="*/ 52 h 99"/>
                        <a:gd name="T64" fmla="*/ 28 w 49"/>
                        <a:gd name="T65" fmla="*/ 55 h 99"/>
                        <a:gd name="T66" fmla="*/ 26 w 49"/>
                        <a:gd name="T67" fmla="*/ 57 h 99"/>
                        <a:gd name="T68" fmla="*/ 25 w 49"/>
                        <a:gd name="T69" fmla="*/ 61 h 99"/>
                        <a:gd name="T70" fmla="*/ 25 w 49"/>
                        <a:gd name="T71" fmla="*/ 66 h 99"/>
                        <a:gd name="T72" fmla="*/ 27 w 49"/>
                        <a:gd name="T73" fmla="*/ 70 h 99"/>
                        <a:gd name="T74" fmla="*/ 13 w 49"/>
                        <a:gd name="T75" fmla="*/ 70 h 99"/>
                        <a:gd name="T76" fmla="*/ 13 w 49"/>
                        <a:gd name="T77" fmla="*/ 68 h 99"/>
                        <a:gd name="T78" fmla="*/ 12 w 49"/>
                        <a:gd name="T79" fmla="*/ 64 h 99"/>
                        <a:gd name="T80" fmla="*/ 12 w 49"/>
                        <a:gd name="T81" fmla="*/ 59 h 99"/>
                        <a:gd name="T82" fmla="*/ 13 w 49"/>
                        <a:gd name="T83" fmla="*/ 56 h 99"/>
                        <a:gd name="T84" fmla="*/ 16 w 49"/>
                        <a:gd name="T85" fmla="*/ 51 h 99"/>
                        <a:gd name="T86" fmla="*/ 20 w 49"/>
                        <a:gd name="T87" fmla="*/ 45 h 99"/>
                        <a:gd name="T88" fmla="*/ 25 w 49"/>
                        <a:gd name="T89" fmla="*/ 39 h 99"/>
                        <a:gd name="T90" fmla="*/ 31 w 49"/>
                        <a:gd name="T91" fmla="*/ 34 h 99"/>
                        <a:gd name="T92" fmla="*/ 33 w 49"/>
                        <a:gd name="T93" fmla="*/ 30 h 99"/>
                        <a:gd name="T94" fmla="*/ 34 w 49"/>
                        <a:gd name="T95" fmla="*/ 27 h 99"/>
                        <a:gd name="T96" fmla="*/ 34 w 49"/>
                        <a:gd name="T97" fmla="*/ 24 h 99"/>
                        <a:gd name="T98" fmla="*/ 33 w 49"/>
                        <a:gd name="T99" fmla="*/ 21 h 99"/>
                        <a:gd name="T100" fmla="*/ 32 w 49"/>
                        <a:gd name="T101" fmla="*/ 19 h 99"/>
                        <a:gd name="T102" fmla="*/ 30 w 49"/>
                        <a:gd name="T103" fmla="*/ 17 h 99"/>
                        <a:gd name="T104" fmla="*/ 27 w 49"/>
                        <a:gd name="T105" fmla="*/ 15 h 99"/>
                        <a:gd name="T106" fmla="*/ 22 w 49"/>
                        <a:gd name="T107" fmla="*/ 14 h 99"/>
                        <a:gd name="T108" fmla="*/ 16 w 49"/>
                        <a:gd name="T109" fmla="*/ 14 h 99"/>
                        <a:gd name="T110" fmla="*/ 11 w 49"/>
                        <a:gd name="T111" fmla="*/ 14 h 99"/>
                        <a:gd name="T112" fmla="*/ 7 w 49"/>
                        <a:gd name="T113" fmla="*/ 17 h 99"/>
                        <a:gd name="T114" fmla="*/ 2 w 49"/>
                        <a:gd name="T115" fmla="*/ 20 h 99"/>
                        <a:gd name="T116" fmla="*/ 1 w 49"/>
                        <a:gd name="T117" fmla="*/ 6 h 99"/>
                        <a:gd name="T118" fmla="*/ 7 w 49"/>
                        <a:gd name="T119" fmla="*/ 3 h 99"/>
                        <a:gd name="T120" fmla="*/ 13 w 49"/>
                        <a:gd name="T121" fmla="*/ 2 h 99"/>
                        <a:gd name="T122" fmla="*/ 18 w 49"/>
                        <a:gd name="T123" fmla="*/ 1 h 99"/>
                        <a:gd name="T124" fmla="*/ 22 w 49"/>
                        <a:gd name="T125" fmla="*/ 0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49" h="99">
                          <a:moveTo>
                            <a:pt x="21" y="82"/>
                          </a:moveTo>
                          <a:lnTo>
                            <a:pt x="22" y="82"/>
                          </a:lnTo>
                          <a:lnTo>
                            <a:pt x="23" y="82"/>
                          </a:lnTo>
                          <a:lnTo>
                            <a:pt x="24" y="82"/>
                          </a:lnTo>
                          <a:lnTo>
                            <a:pt x="25" y="82"/>
                          </a:lnTo>
                          <a:lnTo>
                            <a:pt x="25" y="82"/>
                          </a:lnTo>
                          <a:lnTo>
                            <a:pt x="26" y="83"/>
                          </a:lnTo>
                          <a:lnTo>
                            <a:pt x="27" y="83"/>
                          </a:lnTo>
                          <a:lnTo>
                            <a:pt x="28" y="84"/>
                          </a:lnTo>
                          <a:lnTo>
                            <a:pt x="28" y="85"/>
                          </a:lnTo>
                          <a:lnTo>
                            <a:pt x="29" y="85"/>
                          </a:lnTo>
                          <a:lnTo>
                            <a:pt x="29" y="86"/>
                          </a:lnTo>
                          <a:lnTo>
                            <a:pt x="30" y="87"/>
                          </a:lnTo>
                          <a:lnTo>
                            <a:pt x="30" y="88"/>
                          </a:lnTo>
                          <a:lnTo>
                            <a:pt x="30" y="88"/>
                          </a:lnTo>
                          <a:lnTo>
                            <a:pt x="31" y="89"/>
                          </a:lnTo>
                          <a:lnTo>
                            <a:pt x="31" y="91"/>
                          </a:lnTo>
                          <a:lnTo>
                            <a:pt x="31" y="91"/>
                          </a:lnTo>
                          <a:lnTo>
                            <a:pt x="30" y="92"/>
                          </a:lnTo>
                          <a:lnTo>
                            <a:pt x="30" y="93"/>
                          </a:lnTo>
                          <a:lnTo>
                            <a:pt x="30" y="94"/>
                          </a:lnTo>
                          <a:lnTo>
                            <a:pt x="29" y="94"/>
                          </a:lnTo>
                          <a:lnTo>
                            <a:pt x="29" y="95"/>
                          </a:lnTo>
                          <a:lnTo>
                            <a:pt x="28" y="96"/>
                          </a:lnTo>
                          <a:lnTo>
                            <a:pt x="28" y="97"/>
                          </a:lnTo>
                          <a:lnTo>
                            <a:pt x="27" y="97"/>
                          </a:lnTo>
                          <a:lnTo>
                            <a:pt x="26" y="97"/>
                          </a:lnTo>
                          <a:lnTo>
                            <a:pt x="25" y="98"/>
                          </a:lnTo>
                          <a:lnTo>
                            <a:pt x="25" y="99"/>
                          </a:lnTo>
                          <a:lnTo>
                            <a:pt x="24" y="99"/>
                          </a:lnTo>
                          <a:lnTo>
                            <a:pt x="23" y="99"/>
                          </a:lnTo>
                          <a:lnTo>
                            <a:pt x="22" y="99"/>
                          </a:lnTo>
                          <a:lnTo>
                            <a:pt x="21" y="99"/>
                          </a:lnTo>
                          <a:lnTo>
                            <a:pt x="20" y="99"/>
                          </a:lnTo>
                          <a:lnTo>
                            <a:pt x="19" y="99"/>
                          </a:lnTo>
                          <a:lnTo>
                            <a:pt x="18" y="99"/>
                          </a:lnTo>
                          <a:lnTo>
                            <a:pt x="17" y="99"/>
                          </a:lnTo>
                          <a:lnTo>
                            <a:pt x="16" y="98"/>
                          </a:lnTo>
                          <a:lnTo>
                            <a:pt x="16" y="97"/>
                          </a:lnTo>
                          <a:lnTo>
                            <a:pt x="15" y="97"/>
                          </a:lnTo>
                          <a:lnTo>
                            <a:pt x="14" y="97"/>
                          </a:lnTo>
                          <a:lnTo>
                            <a:pt x="13" y="96"/>
                          </a:lnTo>
                          <a:lnTo>
                            <a:pt x="13" y="95"/>
                          </a:lnTo>
                          <a:lnTo>
                            <a:pt x="13" y="94"/>
                          </a:lnTo>
                          <a:lnTo>
                            <a:pt x="12" y="94"/>
                          </a:lnTo>
                          <a:lnTo>
                            <a:pt x="12" y="93"/>
                          </a:lnTo>
                          <a:lnTo>
                            <a:pt x="12" y="92"/>
                          </a:lnTo>
                          <a:lnTo>
                            <a:pt x="11" y="91"/>
                          </a:lnTo>
                          <a:lnTo>
                            <a:pt x="11" y="91"/>
                          </a:lnTo>
                          <a:lnTo>
                            <a:pt x="11" y="89"/>
                          </a:lnTo>
                          <a:lnTo>
                            <a:pt x="12" y="88"/>
                          </a:lnTo>
                          <a:lnTo>
                            <a:pt x="12" y="88"/>
                          </a:lnTo>
                          <a:lnTo>
                            <a:pt x="12" y="87"/>
                          </a:lnTo>
                          <a:lnTo>
                            <a:pt x="13" y="86"/>
                          </a:lnTo>
                          <a:lnTo>
                            <a:pt x="13" y="85"/>
                          </a:lnTo>
                          <a:lnTo>
                            <a:pt x="13" y="85"/>
                          </a:lnTo>
                          <a:lnTo>
                            <a:pt x="14" y="84"/>
                          </a:lnTo>
                          <a:lnTo>
                            <a:pt x="15" y="83"/>
                          </a:lnTo>
                          <a:lnTo>
                            <a:pt x="16" y="83"/>
                          </a:lnTo>
                          <a:lnTo>
                            <a:pt x="16" y="82"/>
                          </a:lnTo>
                          <a:lnTo>
                            <a:pt x="17" y="82"/>
                          </a:lnTo>
                          <a:lnTo>
                            <a:pt x="18" y="82"/>
                          </a:lnTo>
                          <a:lnTo>
                            <a:pt x="19" y="82"/>
                          </a:lnTo>
                          <a:lnTo>
                            <a:pt x="20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close/>
                          <a:moveTo>
                            <a:pt x="22" y="0"/>
                          </a:moveTo>
                          <a:lnTo>
                            <a:pt x="24" y="0"/>
                          </a:lnTo>
                          <a:lnTo>
                            <a:pt x="25" y="1"/>
                          </a:lnTo>
                          <a:lnTo>
                            <a:pt x="26" y="1"/>
                          </a:lnTo>
                          <a:lnTo>
                            <a:pt x="28" y="1"/>
                          </a:lnTo>
                          <a:lnTo>
                            <a:pt x="29" y="1"/>
                          </a:lnTo>
                          <a:lnTo>
                            <a:pt x="30" y="1"/>
                          </a:lnTo>
                          <a:lnTo>
                            <a:pt x="31" y="2"/>
                          </a:lnTo>
                          <a:lnTo>
                            <a:pt x="33" y="2"/>
                          </a:lnTo>
                          <a:lnTo>
                            <a:pt x="34" y="2"/>
                          </a:lnTo>
                          <a:lnTo>
                            <a:pt x="35" y="2"/>
                          </a:lnTo>
                          <a:lnTo>
                            <a:pt x="36" y="3"/>
                          </a:lnTo>
                          <a:lnTo>
                            <a:pt x="38" y="4"/>
                          </a:lnTo>
                          <a:lnTo>
                            <a:pt x="38" y="4"/>
                          </a:lnTo>
                          <a:lnTo>
                            <a:pt x="39" y="5"/>
                          </a:lnTo>
                          <a:lnTo>
                            <a:pt x="41" y="5"/>
                          </a:lnTo>
                          <a:lnTo>
                            <a:pt x="41" y="6"/>
                          </a:lnTo>
                          <a:lnTo>
                            <a:pt x="42" y="7"/>
                          </a:lnTo>
                          <a:lnTo>
                            <a:pt x="43" y="8"/>
                          </a:lnTo>
                          <a:lnTo>
                            <a:pt x="44" y="8"/>
                          </a:lnTo>
                          <a:lnTo>
                            <a:pt x="44" y="9"/>
                          </a:lnTo>
                          <a:lnTo>
                            <a:pt x="45" y="10"/>
                          </a:lnTo>
                          <a:lnTo>
                            <a:pt x="46" y="11"/>
                          </a:lnTo>
                          <a:lnTo>
                            <a:pt x="47" y="12"/>
                          </a:lnTo>
                          <a:lnTo>
                            <a:pt x="47" y="13"/>
                          </a:lnTo>
                          <a:lnTo>
                            <a:pt x="47" y="14"/>
                          </a:lnTo>
                          <a:lnTo>
                            <a:pt x="48" y="15"/>
                          </a:lnTo>
                          <a:lnTo>
                            <a:pt x="48" y="16"/>
                          </a:lnTo>
                          <a:lnTo>
                            <a:pt x="48" y="17"/>
                          </a:lnTo>
                          <a:lnTo>
                            <a:pt x="49" y="18"/>
                          </a:lnTo>
                          <a:lnTo>
                            <a:pt x="49" y="20"/>
                          </a:lnTo>
                          <a:lnTo>
                            <a:pt x="49" y="21"/>
                          </a:lnTo>
                          <a:lnTo>
                            <a:pt x="49" y="22"/>
                          </a:lnTo>
                          <a:lnTo>
                            <a:pt x="49" y="23"/>
                          </a:lnTo>
                          <a:lnTo>
                            <a:pt x="49" y="25"/>
                          </a:lnTo>
                          <a:lnTo>
                            <a:pt x="49" y="26"/>
                          </a:lnTo>
                          <a:lnTo>
                            <a:pt x="49" y="27"/>
                          </a:lnTo>
                          <a:lnTo>
                            <a:pt x="48" y="28"/>
                          </a:lnTo>
                          <a:lnTo>
                            <a:pt x="48" y="30"/>
                          </a:lnTo>
                          <a:lnTo>
                            <a:pt x="47" y="30"/>
                          </a:lnTo>
                          <a:lnTo>
                            <a:pt x="47" y="32"/>
                          </a:lnTo>
                          <a:lnTo>
                            <a:pt x="47" y="33"/>
                          </a:lnTo>
                          <a:lnTo>
                            <a:pt x="47" y="33"/>
                          </a:lnTo>
                          <a:lnTo>
                            <a:pt x="46" y="34"/>
                          </a:lnTo>
                          <a:lnTo>
                            <a:pt x="45" y="36"/>
                          </a:lnTo>
                          <a:lnTo>
                            <a:pt x="44" y="36"/>
                          </a:lnTo>
                          <a:lnTo>
                            <a:pt x="44" y="37"/>
                          </a:lnTo>
                          <a:lnTo>
                            <a:pt x="44" y="38"/>
                          </a:lnTo>
                          <a:lnTo>
                            <a:pt x="43" y="39"/>
                          </a:lnTo>
                          <a:lnTo>
                            <a:pt x="41" y="41"/>
                          </a:lnTo>
                          <a:lnTo>
                            <a:pt x="40" y="42"/>
                          </a:lnTo>
                          <a:lnTo>
                            <a:pt x="38" y="44"/>
                          </a:lnTo>
                          <a:lnTo>
                            <a:pt x="37" y="45"/>
                          </a:lnTo>
                          <a:lnTo>
                            <a:pt x="35" y="46"/>
                          </a:lnTo>
                          <a:lnTo>
                            <a:pt x="34" y="48"/>
                          </a:lnTo>
                          <a:lnTo>
                            <a:pt x="33" y="49"/>
                          </a:lnTo>
                          <a:lnTo>
                            <a:pt x="31" y="50"/>
                          </a:lnTo>
                          <a:lnTo>
                            <a:pt x="31" y="51"/>
                          </a:lnTo>
                          <a:lnTo>
                            <a:pt x="30" y="51"/>
                          </a:lnTo>
                          <a:lnTo>
                            <a:pt x="29" y="52"/>
                          </a:lnTo>
                          <a:lnTo>
                            <a:pt x="29" y="53"/>
                          </a:lnTo>
                          <a:lnTo>
                            <a:pt x="28" y="54"/>
                          </a:lnTo>
                          <a:lnTo>
                            <a:pt x="28" y="54"/>
                          </a:lnTo>
                          <a:lnTo>
                            <a:pt x="28" y="55"/>
                          </a:lnTo>
                          <a:lnTo>
                            <a:pt x="27" y="55"/>
                          </a:lnTo>
                          <a:lnTo>
                            <a:pt x="27" y="56"/>
                          </a:lnTo>
                          <a:lnTo>
                            <a:pt x="26" y="57"/>
                          </a:lnTo>
                          <a:lnTo>
                            <a:pt x="26" y="57"/>
                          </a:lnTo>
                          <a:lnTo>
                            <a:pt x="25" y="58"/>
                          </a:lnTo>
                          <a:lnTo>
                            <a:pt x="25" y="59"/>
                          </a:lnTo>
                          <a:lnTo>
                            <a:pt x="25" y="60"/>
                          </a:lnTo>
                          <a:lnTo>
                            <a:pt x="25" y="61"/>
                          </a:lnTo>
                          <a:lnTo>
                            <a:pt x="25" y="62"/>
                          </a:lnTo>
                          <a:lnTo>
                            <a:pt x="25" y="63"/>
                          </a:lnTo>
                          <a:lnTo>
                            <a:pt x="25" y="64"/>
                          </a:lnTo>
                          <a:lnTo>
                            <a:pt x="25" y="66"/>
                          </a:lnTo>
                          <a:lnTo>
                            <a:pt x="26" y="67"/>
                          </a:lnTo>
                          <a:lnTo>
                            <a:pt x="26" y="68"/>
                          </a:lnTo>
                          <a:lnTo>
                            <a:pt x="27" y="69"/>
                          </a:lnTo>
                          <a:lnTo>
                            <a:pt x="27" y="70"/>
                          </a:lnTo>
                          <a:lnTo>
                            <a:pt x="28" y="71"/>
                          </a:lnTo>
                          <a:lnTo>
                            <a:pt x="13" y="71"/>
                          </a:lnTo>
                          <a:lnTo>
                            <a:pt x="13" y="70"/>
                          </a:lnTo>
                          <a:lnTo>
                            <a:pt x="13" y="70"/>
                          </a:lnTo>
                          <a:lnTo>
                            <a:pt x="13" y="69"/>
                          </a:lnTo>
                          <a:lnTo>
                            <a:pt x="13" y="69"/>
                          </a:lnTo>
                          <a:lnTo>
                            <a:pt x="13" y="69"/>
                          </a:lnTo>
                          <a:lnTo>
                            <a:pt x="13" y="68"/>
                          </a:lnTo>
                          <a:lnTo>
                            <a:pt x="13" y="67"/>
                          </a:lnTo>
                          <a:lnTo>
                            <a:pt x="13" y="66"/>
                          </a:lnTo>
                          <a:lnTo>
                            <a:pt x="12" y="65"/>
                          </a:lnTo>
                          <a:lnTo>
                            <a:pt x="12" y="64"/>
                          </a:lnTo>
                          <a:lnTo>
                            <a:pt x="12" y="63"/>
                          </a:lnTo>
                          <a:lnTo>
                            <a:pt x="12" y="61"/>
                          </a:lnTo>
                          <a:lnTo>
                            <a:pt x="12" y="60"/>
                          </a:lnTo>
                          <a:lnTo>
                            <a:pt x="12" y="59"/>
                          </a:lnTo>
                          <a:lnTo>
                            <a:pt x="12" y="58"/>
                          </a:lnTo>
                          <a:lnTo>
                            <a:pt x="13" y="57"/>
                          </a:lnTo>
                          <a:lnTo>
                            <a:pt x="13" y="57"/>
                          </a:lnTo>
                          <a:lnTo>
                            <a:pt x="13" y="56"/>
                          </a:lnTo>
                          <a:lnTo>
                            <a:pt x="13" y="54"/>
                          </a:lnTo>
                          <a:lnTo>
                            <a:pt x="13" y="54"/>
                          </a:lnTo>
                          <a:lnTo>
                            <a:pt x="14" y="52"/>
                          </a:lnTo>
                          <a:lnTo>
                            <a:pt x="16" y="51"/>
                          </a:lnTo>
                          <a:lnTo>
                            <a:pt x="16" y="49"/>
                          </a:lnTo>
                          <a:lnTo>
                            <a:pt x="18" y="48"/>
                          </a:lnTo>
                          <a:lnTo>
                            <a:pt x="19" y="46"/>
                          </a:lnTo>
                          <a:lnTo>
                            <a:pt x="20" y="45"/>
                          </a:lnTo>
                          <a:lnTo>
                            <a:pt x="22" y="43"/>
                          </a:lnTo>
                          <a:lnTo>
                            <a:pt x="23" y="42"/>
                          </a:lnTo>
                          <a:lnTo>
                            <a:pt x="24" y="41"/>
                          </a:lnTo>
                          <a:lnTo>
                            <a:pt x="25" y="39"/>
                          </a:lnTo>
                          <a:lnTo>
                            <a:pt x="27" y="38"/>
                          </a:lnTo>
                          <a:lnTo>
                            <a:pt x="28" y="37"/>
                          </a:lnTo>
                          <a:lnTo>
                            <a:pt x="29" y="36"/>
                          </a:lnTo>
                          <a:lnTo>
                            <a:pt x="31" y="34"/>
                          </a:lnTo>
                          <a:lnTo>
                            <a:pt x="31" y="33"/>
                          </a:lnTo>
                          <a:lnTo>
                            <a:pt x="32" y="32"/>
                          </a:lnTo>
                          <a:lnTo>
                            <a:pt x="33" y="31"/>
                          </a:lnTo>
                          <a:lnTo>
                            <a:pt x="33" y="30"/>
                          </a:lnTo>
                          <a:lnTo>
                            <a:pt x="33" y="30"/>
                          </a:lnTo>
                          <a:lnTo>
                            <a:pt x="34" y="29"/>
                          </a:lnTo>
                          <a:lnTo>
                            <a:pt x="34" y="28"/>
                          </a:lnTo>
                          <a:lnTo>
                            <a:pt x="34" y="27"/>
                          </a:lnTo>
                          <a:lnTo>
                            <a:pt x="34" y="27"/>
                          </a:lnTo>
                          <a:lnTo>
                            <a:pt x="34" y="26"/>
                          </a:lnTo>
                          <a:lnTo>
                            <a:pt x="34" y="25"/>
                          </a:lnTo>
                          <a:lnTo>
                            <a:pt x="34" y="24"/>
                          </a:lnTo>
                          <a:lnTo>
                            <a:pt x="34" y="23"/>
                          </a:lnTo>
                          <a:lnTo>
                            <a:pt x="34" y="23"/>
                          </a:lnTo>
                          <a:lnTo>
                            <a:pt x="34" y="22"/>
                          </a:lnTo>
                          <a:lnTo>
                            <a:pt x="33" y="21"/>
                          </a:lnTo>
                          <a:lnTo>
                            <a:pt x="33" y="20"/>
                          </a:lnTo>
                          <a:lnTo>
                            <a:pt x="33" y="20"/>
                          </a:lnTo>
                          <a:lnTo>
                            <a:pt x="32" y="20"/>
                          </a:lnTo>
                          <a:lnTo>
                            <a:pt x="32" y="19"/>
                          </a:lnTo>
                          <a:lnTo>
                            <a:pt x="31" y="18"/>
                          </a:lnTo>
                          <a:lnTo>
                            <a:pt x="31" y="18"/>
                          </a:lnTo>
                          <a:lnTo>
                            <a:pt x="31" y="17"/>
                          </a:lnTo>
                          <a:lnTo>
                            <a:pt x="30" y="17"/>
                          </a:lnTo>
                          <a:lnTo>
                            <a:pt x="30" y="17"/>
                          </a:lnTo>
                          <a:lnTo>
                            <a:pt x="29" y="17"/>
                          </a:lnTo>
                          <a:lnTo>
                            <a:pt x="28" y="16"/>
                          </a:lnTo>
                          <a:lnTo>
                            <a:pt x="27" y="15"/>
                          </a:lnTo>
                          <a:lnTo>
                            <a:pt x="26" y="14"/>
                          </a:lnTo>
                          <a:lnTo>
                            <a:pt x="25" y="14"/>
                          </a:lnTo>
                          <a:lnTo>
                            <a:pt x="23" y="14"/>
                          </a:lnTo>
                          <a:lnTo>
                            <a:pt x="22" y="14"/>
                          </a:lnTo>
                          <a:lnTo>
                            <a:pt x="20" y="14"/>
                          </a:lnTo>
                          <a:lnTo>
                            <a:pt x="19" y="14"/>
                          </a:lnTo>
                          <a:lnTo>
                            <a:pt x="17" y="14"/>
                          </a:lnTo>
                          <a:lnTo>
                            <a:pt x="16" y="14"/>
                          </a:lnTo>
                          <a:lnTo>
                            <a:pt x="15" y="14"/>
                          </a:lnTo>
                          <a:lnTo>
                            <a:pt x="14" y="14"/>
                          </a:lnTo>
                          <a:lnTo>
                            <a:pt x="13" y="14"/>
                          </a:lnTo>
                          <a:lnTo>
                            <a:pt x="11" y="14"/>
                          </a:lnTo>
                          <a:lnTo>
                            <a:pt x="10" y="15"/>
                          </a:lnTo>
                          <a:lnTo>
                            <a:pt x="9" y="16"/>
                          </a:lnTo>
                          <a:lnTo>
                            <a:pt x="8" y="16"/>
                          </a:lnTo>
                          <a:lnTo>
                            <a:pt x="7" y="17"/>
                          </a:lnTo>
                          <a:lnTo>
                            <a:pt x="5" y="17"/>
                          </a:lnTo>
                          <a:lnTo>
                            <a:pt x="4" y="18"/>
                          </a:lnTo>
                          <a:lnTo>
                            <a:pt x="3" y="19"/>
                          </a:lnTo>
                          <a:lnTo>
                            <a:pt x="2" y="20"/>
                          </a:lnTo>
                          <a:lnTo>
                            <a:pt x="1" y="21"/>
                          </a:lnTo>
                          <a:lnTo>
                            <a:pt x="0" y="22"/>
                          </a:lnTo>
                          <a:lnTo>
                            <a:pt x="0" y="7"/>
                          </a:lnTo>
                          <a:lnTo>
                            <a:pt x="1" y="6"/>
                          </a:lnTo>
                          <a:lnTo>
                            <a:pt x="3" y="5"/>
                          </a:lnTo>
                          <a:lnTo>
                            <a:pt x="4" y="5"/>
                          </a:lnTo>
                          <a:lnTo>
                            <a:pt x="5" y="4"/>
                          </a:lnTo>
                          <a:lnTo>
                            <a:pt x="7" y="3"/>
                          </a:lnTo>
                          <a:lnTo>
                            <a:pt x="8" y="3"/>
                          </a:lnTo>
                          <a:lnTo>
                            <a:pt x="10" y="2"/>
                          </a:lnTo>
                          <a:lnTo>
                            <a:pt x="11" y="2"/>
                          </a:lnTo>
                          <a:lnTo>
                            <a:pt x="13" y="2"/>
                          </a:lnTo>
                          <a:lnTo>
                            <a:pt x="13" y="2"/>
                          </a:lnTo>
                          <a:lnTo>
                            <a:pt x="15" y="1"/>
                          </a:lnTo>
                          <a:lnTo>
                            <a:pt x="16" y="1"/>
                          </a:lnTo>
                          <a:lnTo>
                            <a:pt x="18" y="1"/>
                          </a:lnTo>
                          <a:lnTo>
                            <a:pt x="19" y="1"/>
                          </a:lnTo>
                          <a:lnTo>
                            <a:pt x="21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9" name="Freeform 24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5137" y="844463"/>
                      <a:ext cx="18920" cy="18110"/>
                    </a:xfrm>
                    <a:custGeom>
                      <a:avLst/>
                      <a:gdLst>
                        <a:gd name="T0" fmla="*/ 9 w 17"/>
                        <a:gd name="T1" fmla="*/ 16 h 16"/>
                        <a:gd name="T2" fmla="*/ 0 w 17"/>
                        <a:gd name="T3" fmla="*/ 8 h 16"/>
                        <a:gd name="T4" fmla="*/ 8 w 17"/>
                        <a:gd name="T5" fmla="*/ 0 h 16"/>
                        <a:gd name="T6" fmla="*/ 17 w 17"/>
                        <a:gd name="T7" fmla="*/ 8 h 16"/>
                        <a:gd name="T8" fmla="*/ 9 w 17"/>
                        <a:gd name="T9" fmla="*/ 16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7" h="16">
                          <a:moveTo>
                            <a:pt x="9" y="16"/>
                          </a:moveTo>
                          <a:cubicBezTo>
                            <a:pt x="5" y="16"/>
                            <a:pt x="1" y="12"/>
                            <a:pt x="0" y="8"/>
                          </a:cubicBezTo>
                          <a:cubicBezTo>
                            <a:pt x="0" y="4"/>
                            <a:pt x="3" y="0"/>
                            <a:pt x="8" y="0"/>
                          </a:cubicBezTo>
                          <a:cubicBezTo>
                            <a:pt x="13" y="0"/>
                            <a:pt x="17" y="3"/>
                            <a:pt x="17" y="8"/>
                          </a:cubicBezTo>
                          <a:cubicBezTo>
                            <a:pt x="17" y="12"/>
                            <a:pt x="14" y="16"/>
                            <a:pt x="9" y="16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0" name="Freeform 24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7723" y="843441"/>
                      <a:ext cx="77133" cy="75457"/>
                    </a:xfrm>
                    <a:custGeom>
                      <a:avLst/>
                      <a:gdLst>
                        <a:gd name="T0" fmla="*/ 70 w 70"/>
                        <a:gd name="T1" fmla="*/ 64 h 67"/>
                        <a:gd name="T2" fmla="*/ 37 w 70"/>
                        <a:gd name="T3" fmla="*/ 8 h 67"/>
                        <a:gd name="T4" fmla="*/ 1 w 70"/>
                        <a:gd name="T5" fmla="*/ 1 h 67"/>
                        <a:gd name="T6" fmla="*/ 0 w 70"/>
                        <a:gd name="T7" fmla="*/ 2 h 67"/>
                        <a:gd name="T8" fmla="*/ 0 w 70"/>
                        <a:gd name="T9" fmla="*/ 11 h 67"/>
                        <a:gd name="T10" fmla="*/ 1 w 70"/>
                        <a:gd name="T11" fmla="*/ 12 h 67"/>
                        <a:gd name="T12" fmla="*/ 31 w 70"/>
                        <a:gd name="T13" fmla="*/ 19 h 67"/>
                        <a:gd name="T14" fmla="*/ 59 w 70"/>
                        <a:gd name="T15" fmla="*/ 66 h 67"/>
                        <a:gd name="T16" fmla="*/ 60 w 70"/>
                        <a:gd name="T17" fmla="*/ 67 h 67"/>
                        <a:gd name="T18" fmla="*/ 69 w 70"/>
                        <a:gd name="T19" fmla="*/ 66 h 67"/>
                        <a:gd name="T20" fmla="*/ 70 w 70"/>
                        <a:gd name="T21" fmla="*/ 64 h 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70" h="67">
                          <a:moveTo>
                            <a:pt x="70" y="64"/>
                          </a:moveTo>
                          <a:cubicBezTo>
                            <a:pt x="69" y="33"/>
                            <a:pt x="53" y="16"/>
                            <a:pt x="37" y="8"/>
                          </a:cubicBezTo>
                          <a:cubicBezTo>
                            <a:pt x="21" y="0"/>
                            <a:pt x="5" y="1"/>
                            <a:pt x="1" y="1"/>
                          </a:cubicBezTo>
                          <a:cubicBezTo>
                            <a:pt x="0" y="1"/>
                            <a:pt x="0" y="1"/>
                            <a:pt x="0" y="2"/>
                          </a:cubicBezTo>
                          <a:cubicBezTo>
                            <a:pt x="0" y="3"/>
                            <a:pt x="0" y="10"/>
                            <a:pt x="0" y="11"/>
                          </a:cubicBezTo>
                          <a:cubicBezTo>
                            <a:pt x="0" y="12"/>
                            <a:pt x="0" y="12"/>
                            <a:pt x="1" y="12"/>
                          </a:cubicBezTo>
                          <a:cubicBezTo>
                            <a:pt x="5" y="11"/>
                            <a:pt x="18" y="12"/>
                            <a:pt x="31" y="19"/>
                          </a:cubicBezTo>
                          <a:cubicBezTo>
                            <a:pt x="44" y="26"/>
                            <a:pt x="57" y="41"/>
                            <a:pt x="59" y="66"/>
                          </a:cubicBezTo>
                          <a:cubicBezTo>
                            <a:pt x="59" y="66"/>
                            <a:pt x="59" y="67"/>
                            <a:pt x="60" y="67"/>
                          </a:cubicBezTo>
                          <a:cubicBezTo>
                            <a:pt x="60" y="67"/>
                            <a:pt x="68" y="66"/>
                            <a:pt x="69" y="66"/>
                          </a:cubicBezTo>
                          <a:cubicBezTo>
                            <a:pt x="70" y="66"/>
                            <a:pt x="70" y="66"/>
                            <a:pt x="70" y="64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1" name="Freeform 245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4948" y="843198"/>
                      <a:ext cx="49481" cy="48292"/>
                    </a:xfrm>
                    <a:custGeom>
                      <a:avLst/>
                      <a:gdLst>
                        <a:gd name="T0" fmla="*/ 45 w 45"/>
                        <a:gd name="T1" fmla="*/ 40 h 42"/>
                        <a:gd name="T2" fmla="*/ 1 w 45"/>
                        <a:gd name="T3" fmla="*/ 0 h 42"/>
                        <a:gd name="T4" fmla="*/ 0 w 45"/>
                        <a:gd name="T5" fmla="*/ 1 h 42"/>
                        <a:gd name="T6" fmla="*/ 0 w 45"/>
                        <a:gd name="T7" fmla="*/ 10 h 42"/>
                        <a:gd name="T8" fmla="*/ 1 w 45"/>
                        <a:gd name="T9" fmla="*/ 12 h 42"/>
                        <a:gd name="T10" fmla="*/ 32 w 45"/>
                        <a:gd name="T11" fmla="*/ 40 h 42"/>
                        <a:gd name="T12" fmla="*/ 34 w 45"/>
                        <a:gd name="T13" fmla="*/ 42 h 42"/>
                        <a:gd name="T14" fmla="*/ 43 w 45"/>
                        <a:gd name="T15" fmla="*/ 41 h 42"/>
                        <a:gd name="T16" fmla="*/ 45 w 45"/>
                        <a:gd name="T17" fmla="*/ 40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5" h="42">
                          <a:moveTo>
                            <a:pt x="45" y="40"/>
                          </a:moveTo>
                          <a:cubicBezTo>
                            <a:pt x="42" y="9"/>
                            <a:pt x="16" y="0"/>
                            <a:pt x="1" y="0"/>
                          </a:cubicBezTo>
                          <a:cubicBezTo>
                            <a:pt x="0" y="0"/>
                            <a:pt x="0" y="0"/>
                            <a:pt x="0" y="1"/>
                          </a:cubicBezTo>
                          <a:cubicBezTo>
                            <a:pt x="0" y="1"/>
                            <a:pt x="0" y="10"/>
                            <a:pt x="0" y="10"/>
                          </a:cubicBezTo>
                          <a:cubicBezTo>
                            <a:pt x="0" y="11"/>
                            <a:pt x="0" y="12"/>
                            <a:pt x="1" y="12"/>
                          </a:cubicBezTo>
                          <a:cubicBezTo>
                            <a:pt x="9" y="12"/>
                            <a:pt x="29" y="16"/>
                            <a:pt x="32" y="40"/>
                          </a:cubicBezTo>
                          <a:cubicBezTo>
                            <a:pt x="33" y="41"/>
                            <a:pt x="33" y="42"/>
                            <a:pt x="34" y="42"/>
                          </a:cubicBezTo>
                          <a:cubicBezTo>
                            <a:pt x="34" y="42"/>
                            <a:pt x="43" y="41"/>
                            <a:pt x="43" y="41"/>
                          </a:cubicBezTo>
                          <a:cubicBezTo>
                            <a:pt x="44" y="41"/>
                            <a:pt x="45" y="41"/>
                            <a:pt x="45" y="40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2" name="Group 671"/>
                    <p:cNvGrpSpPr/>
                    <p:nvPr/>
                  </p:nvGrpSpPr>
                  <p:grpSpPr>
                    <a:xfrm rot="16200000">
                      <a:off x="10518775" y="1654678"/>
                      <a:ext cx="90548" cy="88776"/>
                      <a:chOff x="10518775" y="1654678"/>
                      <a:chExt cx="90548" cy="88776"/>
                    </a:xfrm>
                  </p:grpSpPr>
                  <p:sp>
                    <p:nvSpPr>
                      <p:cNvPr id="683" name="Freeform 249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19906" y="1656458"/>
                        <a:ext cx="20375" cy="22637"/>
                      </a:xfrm>
                      <a:custGeom>
                        <a:avLst/>
                        <a:gdLst>
                          <a:gd name="T0" fmla="*/ 10 w 19"/>
                          <a:gd name="T1" fmla="*/ 19 h 19"/>
                          <a:gd name="T2" fmla="*/ 0 w 19"/>
                          <a:gd name="T3" fmla="*/ 9 h 19"/>
                          <a:gd name="T4" fmla="*/ 9 w 19"/>
                          <a:gd name="T5" fmla="*/ 0 h 19"/>
                          <a:gd name="T6" fmla="*/ 19 w 19"/>
                          <a:gd name="T7" fmla="*/ 9 h 19"/>
                          <a:gd name="T8" fmla="*/ 10 w 19"/>
                          <a:gd name="T9" fmla="*/ 19 h 1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19" h="19">
                            <a:moveTo>
                              <a:pt x="10" y="19"/>
                            </a:moveTo>
                            <a:cubicBezTo>
                              <a:pt x="5" y="19"/>
                              <a:pt x="0" y="15"/>
                              <a:pt x="0" y="9"/>
                            </a:cubicBezTo>
                            <a:cubicBezTo>
                              <a:pt x="0" y="4"/>
                              <a:pt x="3" y="0"/>
                              <a:pt x="9" y="0"/>
                            </a:cubicBezTo>
                            <a:cubicBezTo>
                              <a:pt x="14" y="0"/>
                              <a:pt x="19" y="4"/>
                              <a:pt x="19" y="9"/>
                            </a:cubicBezTo>
                            <a:cubicBezTo>
                              <a:pt x="19" y="15"/>
                              <a:pt x="15" y="19"/>
                              <a:pt x="10" y="19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4" name="Freeform 250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21925" y="1656056"/>
                        <a:ext cx="88776" cy="86020"/>
                      </a:xfrm>
                      <a:custGeom>
                        <a:avLst/>
                        <a:gdLst>
                          <a:gd name="T0" fmla="*/ 81 w 81"/>
                          <a:gd name="T1" fmla="*/ 73 h 76"/>
                          <a:gd name="T2" fmla="*/ 43 w 81"/>
                          <a:gd name="T3" fmla="*/ 9 h 76"/>
                          <a:gd name="T4" fmla="*/ 1 w 81"/>
                          <a:gd name="T5" fmla="*/ 0 h 76"/>
                          <a:gd name="T6" fmla="*/ 0 w 81"/>
                          <a:gd name="T7" fmla="*/ 2 h 76"/>
                          <a:gd name="T8" fmla="*/ 0 w 81"/>
                          <a:gd name="T9" fmla="*/ 11 h 76"/>
                          <a:gd name="T10" fmla="*/ 1 w 81"/>
                          <a:gd name="T11" fmla="*/ 13 h 76"/>
                          <a:gd name="T12" fmla="*/ 36 w 81"/>
                          <a:gd name="T13" fmla="*/ 21 h 76"/>
                          <a:gd name="T14" fmla="*/ 68 w 81"/>
                          <a:gd name="T15" fmla="*/ 75 h 76"/>
                          <a:gd name="T16" fmla="*/ 69 w 81"/>
                          <a:gd name="T17" fmla="*/ 76 h 76"/>
                          <a:gd name="T18" fmla="*/ 80 w 81"/>
                          <a:gd name="T19" fmla="*/ 75 h 76"/>
                          <a:gd name="T20" fmla="*/ 81 w 81"/>
                          <a:gd name="T21" fmla="*/ 73 h 7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81" h="76">
                            <a:moveTo>
                              <a:pt x="81" y="73"/>
                            </a:moveTo>
                            <a:cubicBezTo>
                              <a:pt x="80" y="38"/>
                              <a:pt x="61" y="18"/>
                              <a:pt x="43" y="9"/>
                            </a:cubicBezTo>
                            <a:cubicBezTo>
                              <a:pt x="24" y="0"/>
                              <a:pt x="6" y="0"/>
                              <a:pt x="1" y="0"/>
                            </a:cubicBezTo>
                            <a:cubicBezTo>
                              <a:pt x="1" y="0"/>
                              <a:pt x="0" y="1"/>
                              <a:pt x="0" y="2"/>
                            </a:cubicBezTo>
                            <a:cubicBezTo>
                              <a:pt x="0" y="2"/>
                              <a:pt x="0" y="11"/>
                              <a:pt x="0" y="11"/>
                            </a:cubicBezTo>
                            <a:cubicBezTo>
                              <a:pt x="0" y="13"/>
                              <a:pt x="0" y="13"/>
                              <a:pt x="1" y="13"/>
                            </a:cubicBezTo>
                            <a:cubicBezTo>
                              <a:pt x="6" y="12"/>
                              <a:pt x="21" y="13"/>
                              <a:pt x="36" y="21"/>
                            </a:cubicBezTo>
                            <a:cubicBezTo>
                              <a:pt x="52" y="30"/>
                              <a:pt x="67" y="46"/>
                              <a:pt x="68" y="75"/>
                            </a:cubicBezTo>
                            <a:cubicBezTo>
                              <a:pt x="68" y="76"/>
                              <a:pt x="68" y="76"/>
                              <a:pt x="69" y="76"/>
                            </a:cubicBezTo>
                            <a:cubicBezTo>
                              <a:pt x="70" y="76"/>
                              <a:pt x="79" y="75"/>
                              <a:pt x="80" y="75"/>
                            </a:cubicBezTo>
                            <a:cubicBezTo>
                              <a:pt x="81" y="75"/>
                              <a:pt x="81" y="75"/>
                              <a:pt x="81" y="73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5" name="Freeform 25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18315" y="1655139"/>
                        <a:ext cx="56758" cy="55838"/>
                      </a:xfrm>
                      <a:custGeom>
                        <a:avLst/>
                        <a:gdLst>
                          <a:gd name="T0" fmla="*/ 52 w 52"/>
                          <a:gd name="T1" fmla="*/ 46 h 49"/>
                          <a:gd name="T2" fmla="*/ 1 w 52"/>
                          <a:gd name="T3" fmla="*/ 0 h 49"/>
                          <a:gd name="T4" fmla="*/ 0 w 52"/>
                          <a:gd name="T5" fmla="*/ 1 h 49"/>
                          <a:gd name="T6" fmla="*/ 0 w 52"/>
                          <a:gd name="T7" fmla="*/ 12 h 49"/>
                          <a:gd name="T8" fmla="*/ 1 w 52"/>
                          <a:gd name="T9" fmla="*/ 14 h 49"/>
                          <a:gd name="T10" fmla="*/ 38 w 52"/>
                          <a:gd name="T11" fmla="*/ 47 h 49"/>
                          <a:gd name="T12" fmla="*/ 40 w 52"/>
                          <a:gd name="T13" fmla="*/ 49 h 49"/>
                          <a:gd name="T14" fmla="*/ 50 w 52"/>
                          <a:gd name="T15" fmla="*/ 48 h 49"/>
                          <a:gd name="T16" fmla="*/ 52 w 52"/>
                          <a:gd name="T17" fmla="*/ 46 h 4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52" h="49">
                            <a:moveTo>
                              <a:pt x="52" y="46"/>
                            </a:moveTo>
                            <a:cubicBezTo>
                              <a:pt x="49" y="10"/>
                              <a:pt x="18" y="0"/>
                              <a:pt x="1" y="0"/>
                            </a:cubicBezTo>
                            <a:cubicBezTo>
                              <a:pt x="0" y="0"/>
                              <a:pt x="0" y="0"/>
                              <a:pt x="0" y="1"/>
                            </a:cubicBezTo>
                            <a:cubicBezTo>
                              <a:pt x="0" y="2"/>
                              <a:pt x="0" y="11"/>
                              <a:pt x="0" y="12"/>
                            </a:cubicBezTo>
                            <a:cubicBezTo>
                              <a:pt x="0" y="13"/>
                              <a:pt x="0" y="14"/>
                              <a:pt x="1" y="14"/>
                            </a:cubicBezTo>
                            <a:cubicBezTo>
                              <a:pt x="10" y="14"/>
                              <a:pt x="34" y="19"/>
                              <a:pt x="38" y="47"/>
                            </a:cubicBezTo>
                            <a:cubicBezTo>
                              <a:pt x="38" y="48"/>
                              <a:pt x="38" y="49"/>
                              <a:pt x="40" y="49"/>
                            </a:cubicBezTo>
                            <a:cubicBezTo>
                              <a:pt x="40" y="49"/>
                              <a:pt x="50" y="48"/>
                              <a:pt x="50" y="48"/>
                            </a:cubicBezTo>
                            <a:cubicBezTo>
                              <a:pt x="52" y="48"/>
                              <a:pt x="52" y="47"/>
                              <a:pt x="52" y="46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3" name="Freeform 25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863849" y="1222685"/>
                      <a:ext cx="217066" cy="368231"/>
                    </a:xfrm>
                    <a:custGeom>
                      <a:avLst/>
                      <a:gdLst>
                        <a:gd name="T0" fmla="*/ 340 w 340"/>
                        <a:gd name="T1" fmla="*/ 2 h 200"/>
                        <a:gd name="T2" fmla="*/ 340 w 340"/>
                        <a:gd name="T3" fmla="*/ 200 h 200"/>
                        <a:gd name="T4" fmla="*/ 1 w 340"/>
                        <a:gd name="T5" fmla="*/ 200 h 200"/>
                        <a:gd name="T6" fmla="*/ 0 w 340"/>
                        <a:gd name="T7" fmla="*/ 0 h 200"/>
                        <a:gd name="T8" fmla="*/ 340 w 340"/>
                        <a:gd name="T9" fmla="*/ 2 h 200"/>
                        <a:gd name="T10" fmla="*/ 340 w 340"/>
                        <a:gd name="T11" fmla="*/ 2 h 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0" h="200">
                          <a:moveTo>
                            <a:pt x="340" y="2"/>
                          </a:moveTo>
                          <a:cubicBezTo>
                            <a:pt x="340" y="200"/>
                            <a:pt x="340" y="200"/>
                            <a:pt x="340" y="200"/>
                          </a:cubicBezTo>
                          <a:cubicBezTo>
                            <a:pt x="1" y="200"/>
                            <a:pt x="1" y="200"/>
                            <a:pt x="1" y="200"/>
                          </a:cubicBezTo>
                          <a:cubicBezTo>
                            <a:pt x="1" y="134"/>
                            <a:pt x="0" y="0"/>
                            <a:pt x="0" y="0"/>
                          </a:cubicBezTo>
                          <a:cubicBezTo>
                            <a:pt x="340" y="2"/>
                            <a:pt x="340" y="2"/>
                            <a:pt x="340" y="2"/>
                          </a:cubicBezTo>
                          <a:cubicBezTo>
                            <a:pt x="340" y="2"/>
                            <a:pt x="340" y="2"/>
                            <a:pt x="340" y="2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4" name="Group 673"/>
                    <p:cNvGrpSpPr/>
                    <p:nvPr/>
                  </p:nvGrpSpPr>
                  <p:grpSpPr>
                    <a:xfrm rot="16200000">
                      <a:off x="11860368" y="1212586"/>
                      <a:ext cx="241462" cy="385663"/>
                      <a:chOff x="11866434" y="1203525"/>
                      <a:chExt cx="241462" cy="385663"/>
                    </a:xfrm>
                  </p:grpSpPr>
                  <p:sp>
                    <p:nvSpPr>
                      <p:cNvPr id="680" name="Freeform 253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794333" y="1275626"/>
                        <a:ext cx="385663" cy="241462"/>
                      </a:xfrm>
                      <a:custGeom>
                        <a:avLst/>
                        <a:gdLst>
                          <a:gd name="T0" fmla="*/ 346 w 352"/>
                          <a:gd name="T1" fmla="*/ 212 h 212"/>
                          <a:gd name="T2" fmla="*/ 7 w 352"/>
                          <a:gd name="T3" fmla="*/ 212 h 212"/>
                          <a:gd name="T4" fmla="*/ 1 w 352"/>
                          <a:gd name="T5" fmla="*/ 206 h 212"/>
                          <a:gd name="T6" fmla="*/ 0 w 352"/>
                          <a:gd name="T7" fmla="*/ 6 h 212"/>
                          <a:gd name="T8" fmla="*/ 2 w 352"/>
                          <a:gd name="T9" fmla="*/ 2 h 212"/>
                          <a:gd name="T10" fmla="*/ 6 w 352"/>
                          <a:gd name="T11" fmla="*/ 0 h 212"/>
                          <a:gd name="T12" fmla="*/ 6 w 352"/>
                          <a:gd name="T13" fmla="*/ 0 h 212"/>
                          <a:gd name="T14" fmla="*/ 346 w 352"/>
                          <a:gd name="T15" fmla="*/ 2 h 212"/>
                          <a:gd name="T16" fmla="*/ 352 w 352"/>
                          <a:gd name="T17" fmla="*/ 8 h 212"/>
                          <a:gd name="T18" fmla="*/ 352 w 352"/>
                          <a:gd name="T19" fmla="*/ 206 h 212"/>
                          <a:gd name="T20" fmla="*/ 346 w 352"/>
                          <a:gd name="T21" fmla="*/ 212 h 212"/>
                          <a:gd name="T22" fmla="*/ 13 w 352"/>
                          <a:gd name="T23" fmla="*/ 200 h 212"/>
                          <a:gd name="T24" fmla="*/ 340 w 352"/>
                          <a:gd name="T25" fmla="*/ 200 h 212"/>
                          <a:gd name="T26" fmla="*/ 340 w 352"/>
                          <a:gd name="T27" fmla="*/ 14 h 212"/>
                          <a:gd name="T28" fmla="*/ 12 w 352"/>
                          <a:gd name="T29" fmla="*/ 12 h 212"/>
                          <a:gd name="T30" fmla="*/ 13 w 352"/>
                          <a:gd name="T31" fmla="*/ 200 h 21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</a:cxnLst>
                        <a:rect l="0" t="0" r="r" b="b"/>
                        <a:pathLst>
                          <a:path w="352" h="212">
                            <a:moveTo>
                              <a:pt x="346" y="212"/>
                            </a:moveTo>
                            <a:cubicBezTo>
                              <a:pt x="7" y="212"/>
                              <a:pt x="7" y="212"/>
                              <a:pt x="7" y="212"/>
                            </a:cubicBezTo>
                            <a:cubicBezTo>
                              <a:pt x="4" y="212"/>
                              <a:pt x="1" y="209"/>
                              <a:pt x="1" y="206"/>
                            </a:cubicBezTo>
                            <a:cubicBezTo>
                              <a:pt x="1" y="141"/>
                              <a:pt x="0" y="7"/>
                              <a:pt x="0" y="6"/>
                            </a:cubicBezTo>
                            <a:cubicBezTo>
                              <a:pt x="0" y="4"/>
                              <a:pt x="1" y="3"/>
                              <a:pt x="2" y="2"/>
                            </a:cubicBezTo>
                            <a:cubicBezTo>
                              <a:pt x="3" y="1"/>
                              <a:pt x="5" y="0"/>
                              <a:pt x="6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346" y="2"/>
                              <a:pt x="346" y="2"/>
                              <a:pt x="346" y="2"/>
                            </a:cubicBezTo>
                            <a:cubicBezTo>
                              <a:pt x="349" y="2"/>
                              <a:pt x="352" y="5"/>
                              <a:pt x="352" y="8"/>
                            </a:cubicBezTo>
                            <a:cubicBezTo>
                              <a:pt x="352" y="206"/>
                              <a:pt x="352" y="206"/>
                              <a:pt x="352" y="206"/>
                            </a:cubicBezTo>
                            <a:cubicBezTo>
                              <a:pt x="352" y="209"/>
                              <a:pt x="349" y="212"/>
                              <a:pt x="346" y="212"/>
                            </a:cubicBezTo>
                            <a:close/>
                            <a:moveTo>
                              <a:pt x="13" y="200"/>
                            </a:moveTo>
                            <a:cubicBezTo>
                              <a:pt x="340" y="200"/>
                              <a:pt x="340" y="200"/>
                              <a:pt x="340" y="200"/>
                            </a:cubicBezTo>
                            <a:cubicBezTo>
                              <a:pt x="340" y="14"/>
                              <a:pt x="340" y="14"/>
                              <a:pt x="340" y="14"/>
                            </a:cubicBezTo>
                            <a:cubicBezTo>
                              <a:pt x="12" y="12"/>
                              <a:pt x="12" y="12"/>
                              <a:pt x="12" y="12"/>
                            </a:cubicBezTo>
                            <a:cubicBezTo>
                              <a:pt x="12" y="38"/>
                              <a:pt x="13" y="142"/>
                              <a:pt x="13" y="200"/>
                            </a:cubicBezTo>
                            <a:close/>
                          </a:path>
                        </a:pathLst>
                      </a:custGeom>
                      <a:solidFill>
                        <a:srgbClr val="80808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1" name="Freeform 254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895210" y="1352244"/>
                        <a:ext cx="209568" cy="188642"/>
                      </a:xfrm>
                      <a:custGeom>
                        <a:avLst/>
                        <a:gdLst>
                          <a:gd name="T0" fmla="*/ 157 w 192"/>
                          <a:gd name="T1" fmla="*/ 26 h 165"/>
                          <a:gd name="T2" fmla="*/ 139 w 192"/>
                          <a:gd name="T3" fmla="*/ 31 h 165"/>
                          <a:gd name="T4" fmla="*/ 90 w 192"/>
                          <a:gd name="T5" fmla="*/ 0 h 165"/>
                          <a:gd name="T6" fmla="*/ 38 w 192"/>
                          <a:gd name="T7" fmla="*/ 43 h 165"/>
                          <a:gd name="T8" fmla="*/ 27 w 192"/>
                          <a:gd name="T9" fmla="*/ 40 h 165"/>
                          <a:gd name="T10" fmla="*/ 0 w 192"/>
                          <a:gd name="T11" fmla="*/ 68 h 165"/>
                          <a:gd name="T12" fmla="*/ 27 w 192"/>
                          <a:gd name="T13" fmla="*/ 95 h 165"/>
                          <a:gd name="T14" fmla="*/ 157 w 192"/>
                          <a:gd name="T15" fmla="*/ 95 h 165"/>
                          <a:gd name="T16" fmla="*/ 192 w 192"/>
                          <a:gd name="T17" fmla="*/ 61 h 165"/>
                          <a:gd name="T18" fmla="*/ 157 w 192"/>
                          <a:gd name="T19" fmla="*/ 26 h 165"/>
                          <a:gd name="T20" fmla="*/ 125 w 192"/>
                          <a:gd name="T21" fmla="*/ 105 h 165"/>
                          <a:gd name="T22" fmla="*/ 115 w 192"/>
                          <a:gd name="T23" fmla="*/ 105 h 165"/>
                          <a:gd name="T24" fmla="*/ 115 w 192"/>
                          <a:gd name="T25" fmla="*/ 137 h 165"/>
                          <a:gd name="T26" fmla="*/ 96 w 192"/>
                          <a:gd name="T27" fmla="*/ 152 h 165"/>
                          <a:gd name="T28" fmla="*/ 77 w 192"/>
                          <a:gd name="T29" fmla="*/ 137 h 165"/>
                          <a:gd name="T30" fmla="*/ 77 w 192"/>
                          <a:gd name="T31" fmla="*/ 105 h 165"/>
                          <a:gd name="T32" fmla="*/ 67 w 192"/>
                          <a:gd name="T33" fmla="*/ 105 h 165"/>
                          <a:gd name="T34" fmla="*/ 67 w 192"/>
                          <a:gd name="T35" fmla="*/ 131 h 165"/>
                          <a:gd name="T36" fmla="*/ 52 w 192"/>
                          <a:gd name="T37" fmla="*/ 131 h 165"/>
                          <a:gd name="T38" fmla="*/ 96 w 192"/>
                          <a:gd name="T39" fmla="*/ 165 h 165"/>
                          <a:gd name="T40" fmla="*/ 139 w 192"/>
                          <a:gd name="T41" fmla="*/ 131 h 165"/>
                          <a:gd name="T42" fmla="*/ 125 w 192"/>
                          <a:gd name="T43" fmla="*/ 131 h 165"/>
                          <a:gd name="T44" fmla="*/ 125 w 192"/>
                          <a:gd name="T45" fmla="*/ 105 h 165"/>
                          <a:gd name="T46" fmla="*/ 125 w 192"/>
                          <a:gd name="T47" fmla="*/ 105 h 1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192" h="165">
                            <a:moveTo>
                              <a:pt x="157" y="26"/>
                            </a:moveTo>
                            <a:cubicBezTo>
                              <a:pt x="150" y="26"/>
                              <a:pt x="144" y="28"/>
                              <a:pt x="139" y="31"/>
                            </a:cubicBezTo>
                            <a:cubicBezTo>
                              <a:pt x="130" y="13"/>
                              <a:pt x="112" y="0"/>
                              <a:pt x="90" y="0"/>
                            </a:cubicBezTo>
                            <a:cubicBezTo>
                              <a:pt x="65" y="0"/>
                              <a:pt x="43" y="18"/>
                              <a:pt x="38" y="43"/>
                            </a:cubicBezTo>
                            <a:cubicBezTo>
                              <a:pt x="35" y="41"/>
                              <a:pt x="31" y="40"/>
                              <a:pt x="27" y="40"/>
                            </a:cubicBezTo>
                            <a:cubicBezTo>
                              <a:pt x="12" y="40"/>
                              <a:pt x="0" y="53"/>
                              <a:pt x="0" y="68"/>
                            </a:cubicBezTo>
                            <a:cubicBezTo>
                              <a:pt x="0" y="83"/>
                              <a:pt x="12" y="95"/>
                              <a:pt x="27" y="95"/>
                            </a:cubicBezTo>
                            <a:cubicBezTo>
                              <a:pt x="157" y="95"/>
                              <a:pt x="157" y="95"/>
                              <a:pt x="157" y="95"/>
                            </a:cubicBezTo>
                            <a:cubicBezTo>
                              <a:pt x="176" y="95"/>
                              <a:pt x="192" y="80"/>
                              <a:pt x="192" y="61"/>
                            </a:cubicBezTo>
                            <a:cubicBezTo>
                              <a:pt x="192" y="42"/>
                              <a:pt x="176" y="26"/>
                              <a:pt x="157" y="26"/>
                            </a:cubicBezTo>
                            <a:close/>
                            <a:moveTo>
                              <a:pt x="125" y="105"/>
                            </a:moveTo>
                            <a:cubicBezTo>
                              <a:pt x="115" y="105"/>
                              <a:pt x="115" y="105"/>
                              <a:pt x="115" y="105"/>
                            </a:cubicBezTo>
                            <a:cubicBezTo>
                              <a:pt x="115" y="137"/>
                              <a:pt x="115" y="137"/>
                              <a:pt x="115" y="137"/>
                            </a:cubicBezTo>
                            <a:cubicBezTo>
                              <a:pt x="96" y="152"/>
                              <a:pt x="96" y="152"/>
                              <a:pt x="96" y="152"/>
                            </a:cubicBezTo>
                            <a:cubicBezTo>
                              <a:pt x="77" y="137"/>
                              <a:pt x="77" y="137"/>
                              <a:pt x="77" y="137"/>
                            </a:cubicBezTo>
                            <a:cubicBezTo>
                              <a:pt x="77" y="105"/>
                              <a:pt x="77" y="105"/>
                              <a:pt x="77" y="105"/>
                            </a:cubicBezTo>
                            <a:cubicBezTo>
                              <a:pt x="67" y="105"/>
                              <a:pt x="67" y="105"/>
                              <a:pt x="67" y="105"/>
                            </a:cubicBezTo>
                            <a:cubicBezTo>
                              <a:pt x="67" y="131"/>
                              <a:pt x="67" y="131"/>
                              <a:pt x="67" y="131"/>
                            </a:cubicBezTo>
                            <a:cubicBezTo>
                              <a:pt x="52" y="131"/>
                              <a:pt x="52" y="131"/>
                              <a:pt x="52" y="131"/>
                            </a:cubicBezTo>
                            <a:cubicBezTo>
                              <a:pt x="96" y="165"/>
                              <a:pt x="96" y="165"/>
                              <a:pt x="96" y="165"/>
                            </a:cubicBezTo>
                            <a:cubicBezTo>
                              <a:pt x="139" y="131"/>
                              <a:pt x="139" y="131"/>
                              <a:pt x="139" y="131"/>
                            </a:cubicBezTo>
                            <a:cubicBezTo>
                              <a:pt x="125" y="131"/>
                              <a:pt x="125" y="131"/>
                              <a:pt x="125" y="131"/>
                            </a:cubicBezTo>
                            <a:cubicBezTo>
                              <a:pt x="125" y="105"/>
                              <a:pt x="125" y="105"/>
                              <a:pt x="125" y="105"/>
                            </a:cubicBezTo>
                            <a:cubicBezTo>
                              <a:pt x="125" y="105"/>
                              <a:pt x="125" y="105"/>
                              <a:pt x="125" y="105"/>
                            </a:cubicBezTo>
                            <a:close/>
                          </a:path>
                        </a:pathLst>
                      </a:cu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2" name="Freeform 255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896345" y="1249129"/>
                        <a:ext cx="107695" cy="95075"/>
                      </a:xfrm>
                      <a:custGeom>
                        <a:avLst/>
                        <a:gdLst>
                          <a:gd name="T0" fmla="*/ 95 w 98"/>
                          <a:gd name="T1" fmla="*/ 0 h 83"/>
                          <a:gd name="T2" fmla="*/ 3 w 98"/>
                          <a:gd name="T3" fmla="*/ 0 h 83"/>
                          <a:gd name="T4" fmla="*/ 0 w 98"/>
                          <a:gd name="T5" fmla="*/ 3 h 83"/>
                          <a:gd name="T6" fmla="*/ 0 w 98"/>
                          <a:gd name="T7" fmla="*/ 69 h 83"/>
                          <a:gd name="T8" fmla="*/ 3 w 98"/>
                          <a:gd name="T9" fmla="*/ 72 h 83"/>
                          <a:gd name="T10" fmla="*/ 33 w 98"/>
                          <a:gd name="T11" fmla="*/ 72 h 83"/>
                          <a:gd name="T12" fmla="*/ 33 w 98"/>
                          <a:gd name="T13" fmla="*/ 77 h 83"/>
                          <a:gd name="T14" fmla="*/ 27 w 98"/>
                          <a:gd name="T15" fmla="*/ 83 h 83"/>
                          <a:gd name="T16" fmla="*/ 73 w 98"/>
                          <a:gd name="T17" fmla="*/ 83 h 83"/>
                          <a:gd name="T18" fmla="*/ 67 w 98"/>
                          <a:gd name="T19" fmla="*/ 77 h 83"/>
                          <a:gd name="T20" fmla="*/ 67 w 98"/>
                          <a:gd name="T21" fmla="*/ 72 h 83"/>
                          <a:gd name="T22" fmla="*/ 95 w 98"/>
                          <a:gd name="T23" fmla="*/ 72 h 83"/>
                          <a:gd name="T24" fmla="*/ 98 w 98"/>
                          <a:gd name="T25" fmla="*/ 69 h 83"/>
                          <a:gd name="T26" fmla="*/ 98 w 98"/>
                          <a:gd name="T27" fmla="*/ 3 h 83"/>
                          <a:gd name="T28" fmla="*/ 95 w 98"/>
                          <a:gd name="T29" fmla="*/ 0 h 83"/>
                          <a:gd name="T30" fmla="*/ 93 w 98"/>
                          <a:gd name="T31" fmla="*/ 64 h 83"/>
                          <a:gd name="T32" fmla="*/ 90 w 98"/>
                          <a:gd name="T33" fmla="*/ 67 h 83"/>
                          <a:gd name="T34" fmla="*/ 8 w 98"/>
                          <a:gd name="T35" fmla="*/ 67 h 83"/>
                          <a:gd name="T36" fmla="*/ 6 w 98"/>
                          <a:gd name="T37" fmla="*/ 64 h 83"/>
                          <a:gd name="T38" fmla="*/ 6 w 98"/>
                          <a:gd name="T39" fmla="*/ 8 h 83"/>
                          <a:gd name="T40" fmla="*/ 8 w 98"/>
                          <a:gd name="T41" fmla="*/ 5 h 83"/>
                          <a:gd name="T42" fmla="*/ 90 w 98"/>
                          <a:gd name="T43" fmla="*/ 5 h 83"/>
                          <a:gd name="T44" fmla="*/ 93 w 98"/>
                          <a:gd name="T45" fmla="*/ 8 h 83"/>
                          <a:gd name="T46" fmla="*/ 93 w 98"/>
                          <a:gd name="T47" fmla="*/ 64 h 83"/>
                          <a:gd name="T48" fmla="*/ 93 w 98"/>
                          <a:gd name="T49" fmla="*/ 64 h 8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</a:cxnLst>
                        <a:rect l="0" t="0" r="r" b="b"/>
                        <a:pathLst>
                          <a:path w="98" h="83">
                            <a:moveTo>
                              <a:pt x="95" y="0"/>
                            </a:moveTo>
                            <a:cubicBezTo>
                              <a:pt x="3" y="0"/>
                              <a:pt x="3" y="0"/>
                              <a:pt x="3" y="0"/>
                            </a:cubicBezTo>
                            <a:cubicBezTo>
                              <a:pt x="1" y="0"/>
                              <a:pt x="0" y="1"/>
                              <a:pt x="0" y="3"/>
                            </a:cubicBezTo>
                            <a:cubicBezTo>
                              <a:pt x="0" y="69"/>
                              <a:pt x="0" y="69"/>
                              <a:pt x="0" y="69"/>
                            </a:cubicBezTo>
                            <a:cubicBezTo>
                              <a:pt x="0" y="71"/>
                              <a:pt x="1" y="72"/>
                              <a:pt x="3" y="72"/>
                            </a:cubicBezTo>
                            <a:cubicBezTo>
                              <a:pt x="33" y="72"/>
                              <a:pt x="33" y="72"/>
                              <a:pt x="33" y="72"/>
                            </a:cubicBezTo>
                            <a:cubicBezTo>
                              <a:pt x="33" y="77"/>
                              <a:pt x="33" y="77"/>
                              <a:pt x="33" y="77"/>
                            </a:cubicBezTo>
                            <a:cubicBezTo>
                              <a:pt x="27" y="83"/>
                              <a:pt x="27" y="83"/>
                              <a:pt x="27" y="83"/>
                            </a:cubicBezTo>
                            <a:cubicBezTo>
                              <a:pt x="73" y="83"/>
                              <a:pt x="73" y="83"/>
                              <a:pt x="73" y="83"/>
                            </a:cubicBezTo>
                            <a:cubicBezTo>
                              <a:pt x="67" y="77"/>
                              <a:pt x="67" y="77"/>
                              <a:pt x="67" y="77"/>
                            </a:cubicBezTo>
                            <a:cubicBezTo>
                              <a:pt x="67" y="72"/>
                              <a:pt x="67" y="72"/>
                              <a:pt x="67" y="72"/>
                            </a:cubicBezTo>
                            <a:cubicBezTo>
                              <a:pt x="95" y="72"/>
                              <a:pt x="95" y="72"/>
                              <a:pt x="95" y="72"/>
                            </a:cubicBezTo>
                            <a:cubicBezTo>
                              <a:pt x="97" y="72"/>
                              <a:pt x="98" y="71"/>
                              <a:pt x="98" y="69"/>
                            </a:cubicBezTo>
                            <a:cubicBezTo>
                              <a:pt x="98" y="3"/>
                              <a:pt x="98" y="3"/>
                              <a:pt x="98" y="3"/>
                            </a:cubicBezTo>
                            <a:cubicBezTo>
                              <a:pt x="98" y="1"/>
                              <a:pt x="97" y="0"/>
                              <a:pt x="95" y="0"/>
                            </a:cubicBezTo>
                            <a:close/>
                            <a:moveTo>
                              <a:pt x="93" y="64"/>
                            </a:moveTo>
                            <a:cubicBezTo>
                              <a:pt x="93" y="66"/>
                              <a:pt x="91" y="67"/>
                              <a:pt x="90" y="67"/>
                            </a:cubicBezTo>
                            <a:cubicBezTo>
                              <a:pt x="8" y="67"/>
                              <a:pt x="8" y="67"/>
                              <a:pt x="8" y="67"/>
                            </a:cubicBezTo>
                            <a:cubicBezTo>
                              <a:pt x="7" y="67"/>
                              <a:pt x="6" y="66"/>
                              <a:pt x="6" y="64"/>
                            </a:cubicBezTo>
                            <a:cubicBezTo>
                              <a:pt x="6" y="8"/>
                              <a:pt x="6" y="8"/>
                              <a:pt x="6" y="8"/>
                            </a:cubicBezTo>
                            <a:cubicBezTo>
                              <a:pt x="6" y="6"/>
                              <a:pt x="7" y="5"/>
                              <a:pt x="8" y="5"/>
                            </a:cubicBezTo>
                            <a:cubicBezTo>
                              <a:pt x="90" y="5"/>
                              <a:pt x="90" y="5"/>
                              <a:pt x="90" y="5"/>
                            </a:cubicBezTo>
                            <a:cubicBezTo>
                              <a:pt x="91" y="5"/>
                              <a:pt x="93" y="6"/>
                              <a:pt x="93" y="8"/>
                            </a:cubicBezTo>
                            <a:cubicBezTo>
                              <a:pt x="93" y="64"/>
                              <a:pt x="93" y="64"/>
                              <a:pt x="93" y="64"/>
                            </a:cubicBezTo>
                            <a:cubicBezTo>
                              <a:pt x="93" y="64"/>
                              <a:pt x="93" y="64"/>
                              <a:pt x="93" y="64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5" name="Freeform 256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859127" y="1846436"/>
                      <a:ext cx="135346" cy="141859"/>
                    </a:xfrm>
                    <a:custGeom>
                      <a:avLst/>
                      <a:gdLst>
                        <a:gd name="T0" fmla="*/ 93 w 93"/>
                        <a:gd name="T1" fmla="*/ 23 h 94"/>
                        <a:gd name="T2" fmla="*/ 46 w 93"/>
                        <a:gd name="T3" fmla="*/ 23 h 94"/>
                        <a:gd name="T4" fmla="*/ 46 w 93"/>
                        <a:gd name="T5" fmla="*/ 0 h 94"/>
                        <a:gd name="T6" fmla="*/ 0 w 93"/>
                        <a:gd name="T7" fmla="*/ 47 h 94"/>
                        <a:gd name="T8" fmla="*/ 46 w 93"/>
                        <a:gd name="T9" fmla="*/ 94 h 94"/>
                        <a:gd name="T10" fmla="*/ 46 w 93"/>
                        <a:gd name="T11" fmla="*/ 70 h 94"/>
                        <a:gd name="T12" fmla="*/ 93 w 93"/>
                        <a:gd name="T13" fmla="*/ 70 h 94"/>
                        <a:gd name="T14" fmla="*/ 93 w 93"/>
                        <a:gd name="T15" fmla="*/ 23 h 94"/>
                        <a:gd name="T16" fmla="*/ 93 w 93"/>
                        <a:gd name="T17" fmla="*/ 23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" h="94">
                          <a:moveTo>
                            <a:pt x="93" y="23"/>
                          </a:moveTo>
                          <a:lnTo>
                            <a:pt x="46" y="23"/>
                          </a:lnTo>
                          <a:lnTo>
                            <a:pt x="46" y="0"/>
                          </a:lnTo>
                          <a:lnTo>
                            <a:pt x="0" y="47"/>
                          </a:lnTo>
                          <a:lnTo>
                            <a:pt x="46" y="94"/>
                          </a:lnTo>
                          <a:lnTo>
                            <a:pt x="46" y="70"/>
                          </a:lnTo>
                          <a:lnTo>
                            <a:pt x="93" y="70"/>
                          </a:lnTo>
                          <a:lnTo>
                            <a:pt x="93" y="23"/>
                          </a:lnTo>
                          <a:lnTo>
                            <a:pt x="93" y="23"/>
                          </a:lnTo>
                          <a:close/>
                        </a:path>
                      </a:pathLst>
                    </a:custGeom>
                    <a:solidFill>
                      <a:srgbClr val="51515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6" name="Group 675"/>
                    <p:cNvGrpSpPr/>
                    <p:nvPr/>
                  </p:nvGrpSpPr>
                  <p:grpSpPr>
                    <a:xfrm rot="16200000">
                      <a:off x="10847771" y="1945572"/>
                      <a:ext cx="239952" cy="64035"/>
                      <a:chOff x="10769293" y="1881709"/>
                      <a:chExt cx="239952" cy="64035"/>
                    </a:xfrm>
                  </p:grpSpPr>
                  <p:sp>
                    <p:nvSpPr>
                      <p:cNvPr id="678" name="Freeform 257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0857251" y="1793751"/>
                        <a:ext cx="64035" cy="239952"/>
                      </a:xfrm>
                      <a:custGeom>
                        <a:avLst/>
                        <a:gdLst>
                          <a:gd name="T0" fmla="*/ 49 w 58"/>
                          <a:gd name="T1" fmla="*/ 0 h 211"/>
                          <a:gd name="T2" fmla="*/ 9 w 58"/>
                          <a:gd name="T3" fmla="*/ 0 h 211"/>
                          <a:gd name="T4" fmla="*/ 0 w 58"/>
                          <a:gd name="T5" fmla="*/ 9 h 211"/>
                          <a:gd name="T6" fmla="*/ 0 w 58"/>
                          <a:gd name="T7" fmla="*/ 202 h 211"/>
                          <a:gd name="T8" fmla="*/ 9 w 58"/>
                          <a:gd name="T9" fmla="*/ 211 h 211"/>
                          <a:gd name="T10" fmla="*/ 49 w 58"/>
                          <a:gd name="T11" fmla="*/ 211 h 211"/>
                          <a:gd name="T12" fmla="*/ 58 w 58"/>
                          <a:gd name="T13" fmla="*/ 202 h 211"/>
                          <a:gd name="T14" fmla="*/ 58 w 58"/>
                          <a:gd name="T15" fmla="*/ 9 h 211"/>
                          <a:gd name="T16" fmla="*/ 49 w 58"/>
                          <a:gd name="T17" fmla="*/ 0 h 211"/>
                          <a:gd name="T18" fmla="*/ 13 w 58"/>
                          <a:gd name="T19" fmla="*/ 19 h 211"/>
                          <a:gd name="T20" fmla="*/ 19 w 58"/>
                          <a:gd name="T21" fmla="*/ 14 h 211"/>
                          <a:gd name="T22" fmla="*/ 39 w 58"/>
                          <a:gd name="T23" fmla="*/ 14 h 211"/>
                          <a:gd name="T24" fmla="*/ 44 w 58"/>
                          <a:gd name="T25" fmla="*/ 19 h 211"/>
                          <a:gd name="T26" fmla="*/ 44 w 58"/>
                          <a:gd name="T27" fmla="*/ 142 h 211"/>
                          <a:gd name="T28" fmla="*/ 39 w 58"/>
                          <a:gd name="T29" fmla="*/ 147 h 211"/>
                          <a:gd name="T30" fmla="*/ 19 w 58"/>
                          <a:gd name="T31" fmla="*/ 147 h 211"/>
                          <a:gd name="T32" fmla="*/ 13 w 58"/>
                          <a:gd name="T33" fmla="*/ 142 h 211"/>
                          <a:gd name="T34" fmla="*/ 13 w 58"/>
                          <a:gd name="T35" fmla="*/ 19 h 211"/>
                          <a:gd name="T36" fmla="*/ 13 w 58"/>
                          <a:gd name="T37" fmla="*/ 19 h 211"/>
                          <a:gd name="T38" fmla="*/ 29 w 58"/>
                          <a:gd name="T39" fmla="*/ 199 h 211"/>
                          <a:gd name="T40" fmla="*/ 13 w 58"/>
                          <a:gd name="T41" fmla="*/ 184 h 211"/>
                          <a:gd name="T42" fmla="*/ 29 w 58"/>
                          <a:gd name="T43" fmla="*/ 168 h 211"/>
                          <a:gd name="T44" fmla="*/ 44 w 58"/>
                          <a:gd name="T45" fmla="*/ 184 h 211"/>
                          <a:gd name="T46" fmla="*/ 29 w 58"/>
                          <a:gd name="T47" fmla="*/ 199 h 2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58" h="211">
                            <a:moveTo>
                              <a:pt x="49" y="0"/>
                            </a:moveTo>
                            <a:cubicBezTo>
                              <a:pt x="9" y="0"/>
                              <a:pt x="9" y="0"/>
                              <a:pt x="9" y="0"/>
                            </a:cubicBezTo>
                            <a:cubicBezTo>
                              <a:pt x="4" y="0"/>
                              <a:pt x="0" y="4"/>
                              <a:pt x="0" y="9"/>
                            </a:cubicBezTo>
                            <a:cubicBezTo>
                              <a:pt x="0" y="202"/>
                              <a:pt x="0" y="202"/>
                              <a:pt x="0" y="202"/>
                            </a:cubicBezTo>
                            <a:cubicBezTo>
                              <a:pt x="0" y="207"/>
                              <a:pt x="4" y="211"/>
                              <a:pt x="9" y="211"/>
                            </a:cubicBezTo>
                            <a:cubicBezTo>
                              <a:pt x="49" y="211"/>
                              <a:pt x="49" y="211"/>
                              <a:pt x="49" y="211"/>
                            </a:cubicBezTo>
                            <a:cubicBezTo>
                              <a:pt x="54" y="211"/>
                              <a:pt x="58" y="207"/>
                              <a:pt x="58" y="202"/>
                            </a:cubicBezTo>
                            <a:cubicBezTo>
                              <a:pt x="58" y="9"/>
                              <a:pt x="58" y="9"/>
                              <a:pt x="58" y="9"/>
                            </a:cubicBezTo>
                            <a:cubicBezTo>
                              <a:pt x="58" y="4"/>
                              <a:pt x="54" y="0"/>
                              <a:pt x="49" y="0"/>
                            </a:cubicBezTo>
                            <a:close/>
                            <a:moveTo>
                              <a:pt x="13" y="19"/>
                            </a:moveTo>
                            <a:cubicBezTo>
                              <a:pt x="13" y="17"/>
                              <a:pt x="16" y="14"/>
                              <a:pt x="19" y="14"/>
                            </a:cubicBezTo>
                            <a:cubicBezTo>
                              <a:pt x="39" y="14"/>
                              <a:pt x="39" y="14"/>
                              <a:pt x="39" y="14"/>
                            </a:cubicBezTo>
                            <a:cubicBezTo>
                              <a:pt x="42" y="14"/>
                              <a:pt x="44" y="17"/>
                              <a:pt x="44" y="19"/>
                            </a:cubicBezTo>
                            <a:cubicBezTo>
                              <a:pt x="44" y="142"/>
                              <a:pt x="44" y="142"/>
                              <a:pt x="44" y="142"/>
                            </a:cubicBezTo>
                            <a:cubicBezTo>
                              <a:pt x="44" y="145"/>
                              <a:pt x="42" y="147"/>
                              <a:pt x="39" y="147"/>
                            </a:cubicBezTo>
                            <a:cubicBezTo>
                              <a:pt x="19" y="147"/>
                              <a:pt x="19" y="147"/>
                              <a:pt x="19" y="147"/>
                            </a:cubicBezTo>
                            <a:cubicBezTo>
                              <a:pt x="16" y="147"/>
                              <a:pt x="13" y="145"/>
                              <a:pt x="13" y="142"/>
                            </a:cubicBezTo>
                            <a:cubicBezTo>
                              <a:pt x="13" y="19"/>
                              <a:pt x="13" y="19"/>
                              <a:pt x="13" y="19"/>
                            </a:cubicBezTo>
                            <a:cubicBezTo>
                              <a:pt x="13" y="19"/>
                              <a:pt x="13" y="19"/>
                              <a:pt x="13" y="19"/>
                            </a:cubicBezTo>
                            <a:close/>
                            <a:moveTo>
                              <a:pt x="29" y="199"/>
                            </a:moveTo>
                            <a:cubicBezTo>
                              <a:pt x="20" y="199"/>
                              <a:pt x="13" y="192"/>
                              <a:pt x="13" y="184"/>
                            </a:cubicBezTo>
                            <a:cubicBezTo>
                              <a:pt x="13" y="175"/>
                              <a:pt x="20" y="168"/>
                              <a:pt x="29" y="168"/>
                            </a:cubicBezTo>
                            <a:cubicBezTo>
                              <a:pt x="37" y="168"/>
                              <a:pt x="44" y="175"/>
                              <a:pt x="44" y="184"/>
                            </a:cubicBezTo>
                            <a:cubicBezTo>
                              <a:pt x="44" y="192"/>
                              <a:pt x="37" y="199"/>
                              <a:pt x="29" y="199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79" name="Oval 258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0792251" y="1904672"/>
                        <a:ext cx="17464" cy="18110"/>
                      </a:xfrm>
                      <a:prstGeom prst="ellipse">
                        <a:avLst/>
                      </a:pr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7" name="Freeform 259"/>
                    <p:cNvSpPr>
                      <a:spLocks/>
                    </p:cNvSpPr>
                    <p:nvPr/>
                  </p:nvSpPr>
                  <p:spPr bwMode="auto">
                    <a:xfrm>
                      <a:off x="10332565" y="1583717"/>
                      <a:ext cx="116985" cy="105399"/>
                    </a:xfrm>
                    <a:custGeom>
                      <a:avLst/>
                      <a:gdLst>
                        <a:gd name="T0" fmla="*/ 66 w 80"/>
                        <a:gd name="T1" fmla="*/ 0 h 70"/>
                        <a:gd name="T2" fmla="*/ 80 w 80"/>
                        <a:gd name="T3" fmla="*/ 14 h 70"/>
                        <a:gd name="T4" fmla="*/ 66 w 80"/>
                        <a:gd name="T5" fmla="*/ 28 h 70"/>
                        <a:gd name="T6" fmla="*/ 53 w 80"/>
                        <a:gd name="T7" fmla="*/ 19 h 70"/>
                        <a:gd name="T8" fmla="*/ 53 w 80"/>
                        <a:gd name="T9" fmla="*/ 18 h 70"/>
                        <a:gd name="T10" fmla="*/ 28 w 80"/>
                        <a:gd name="T11" fmla="*/ 28 h 70"/>
                        <a:gd name="T12" fmla="*/ 28 w 80"/>
                        <a:gd name="T13" fmla="*/ 29 h 70"/>
                        <a:gd name="T14" fmla="*/ 26 w 80"/>
                        <a:gd name="T15" fmla="*/ 34 h 70"/>
                        <a:gd name="T16" fmla="*/ 51 w 80"/>
                        <a:gd name="T17" fmla="*/ 49 h 70"/>
                        <a:gd name="T18" fmla="*/ 53 w 80"/>
                        <a:gd name="T19" fmla="*/ 46 h 70"/>
                        <a:gd name="T20" fmla="*/ 63 w 80"/>
                        <a:gd name="T21" fmla="*/ 42 h 70"/>
                        <a:gd name="T22" fmla="*/ 77 w 80"/>
                        <a:gd name="T23" fmla="*/ 56 h 70"/>
                        <a:gd name="T24" fmla="*/ 63 w 80"/>
                        <a:gd name="T25" fmla="*/ 70 h 70"/>
                        <a:gd name="T26" fmla="*/ 49 w 80"/>
                        <a:gd name="T27" fmla="*/ 56 h 70"/>
                        <a:gd name="T28" fmla="*/ 49 w 80"/>
                        <a:gd name="T29" fmla="*/ 55 h 70"/>
                        <a:gd name="T30" fmla="*/ 23 w 80"/>
                        <a:gd name="T31" fmla="*/ 40 h 70"/>
                        <a:gd name="T32" fmla="*/ 20 w 80"/>
                        <a:gd name="T33" fmla="*/ 42 h 70"/>
                        <a:gd name="T34" fmla="*/ 14 w 80"/>
                        <a:gd name="T35" fmla="*/ 43 h 70"/>
                        <a:gd name="T36" fmla="*/ 0 w 80"/>
                        <a:gd name="T37" fmla="*/ 29 h 70"/>
                        <a:gd name="T38" fmla="*/ 14 w 80"/>
                        <a:gd name="T39" fmla="*/ 15 h 70"/>
                        <a:gd name="T40" fmla="*/ 24 w 80"/>
                        <a:gd name="T41" fmla="*/ 19 h 70"/>
                        <a:gd name="T42" fmla="*/ 26 w 80"/>
                        <a:gd name="T43" fmla="*/ 21 h 70"/>
                        <a:gd name="T44" fmla="*/ 52 w 80"/>
                        <a:gd name="T45" fmla="*/ 12 h 70"/>
                        <a:gd name="T46" fmla="*/ 53 w 80"/>
                        <a:gd name="T47" fmla="*/ 8 h 70"/>
                        <a:gd name="T48" fmla="*/ 66 w 80"/>
                        <a:gd name="T49" fmla="*/ 0 h 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80" h="70">
                          <a:moveTo>
                            <a:pt x="66" y="0"/>
                          </a:moveTo>
                          <a:cubicBezTo>
                            <a:pt x="73" y="0"/>
                            <a:pt x="80" y="6"/>
                            <a:pt x="80" y="14"/>
                          </a:cubicBezTo>
                          <a:cubicBezTo>
                            <a:pt x="80" y="22"/>
                            <a:pt x="73" y="28"/>
                            <a:pt x="66" y="28"/>
                          </a:cubicBezTo>
                          <a:cubicBezTo>
                            <a:pt x="60" y="28"/>
                            <a:pt x="55" y="24"/>
                            <a:pt x="53" y="19"/>
                          </a:cubicBezTo>
                          <a:cubicBezTo>
                            <a:pt x="53" y="18"/>
                            <a:pt x="53" y="18"/>
                            <a:pt x="53" y="18"/>
                          </a:cubicBezTo>
                          <a:cubicBezTo>
                            <a:pt x="28" y="28"/>
                            <a:pt x="28" y="28"/>
                            <a:pt x="28" y="28"/>
                          </a:cubicBezTo>
                          <a:cubicBezTo>
                            <a:pt x="28" y="29"/>
                            <a:pt x="28" y="29"/>
                            <a:pt x="28" y="29"/>
                          </a:cubicBezTo>
                          <a:cubicBezTo>
                            <a:pt x="26" y="34"/>
                            <a:pt x="26" y="34"/>
                            <a:pt x="26" y="34"/>
                          </a:cubicBezTo>
                          <a:cubicBezTo>
                            <a:pt x="51" y="49"/>
                            <a:pt x="51" y="49"/>
                            <a:pt x="51" y="49"/>
                          </a:cubicBezTo>
                          <a:cubicBezTo>
                            <a:pt x="53" y="46"/>
                            <a:pt x="53" y="46"/>
                            <a:pt x="53" y="46"/>
                          </a:cubicBezTo>
                          <a:cubicBezTo>
                            <a:pt x="55" y="44"/>
                            <a:pt x="59" y="42"/>
                            <a:pt x="63" y="42"/>
                          </a:cubicBezTo>
                          <a:cubicBezTo>
                            <a:pt x="70" y="42"/>
                            <a:pt x="77" y="48"/>
                            <a:pt x="77" y="56"/>
                          </a:cubicBezTo>
                          <a:cubicBezTo>
                            <a:pt x="77" y="64"/>
                            <a:pt x="70" y="70"/>
                            <a:pt x="63" y="70"/>
                          </a:cubicBezTo>
                          <a:cubicBezTo>
                            <a:pt x="55" y="70"/>
                            <a:pt x="49" y="64"/>
                            <a:pt x="49" y="56"/>
                          </a:cubicBezTo>
                          <a:cubicBezTo>
                            <a:pt x="49" y="55"/>
                            <a:pt x="49" y="55"/>
                            <a:pt x="49" y="55"/>
                          </a:cubicBezTo>
                          <a:cubicBezTo>
                            <a:pt x="23" y="40"/>
                            <a:pt x="23" y="40"/>
                            <a:pt x="23" y="40"/>
                          </a:cubicBezTo>
                          <a:cubicBezTo>
                            <a:pt x="20" y="42"/>
                            <a:pt x="20" y="42"/>
                            <a:pt x="20" y="42"/>
                          </a:cubicBezTo>
                          <a:cubicBezTo>
                            <a:pt x="18" y="43"/>
                            <a:pt x="16" y="43"/>
                            <a:pt x="14" y="43"/>
                          </a:cubicBezTo>
                          <a:cubicBezTo>
                            <a:pt x="6" y="43"/>
                            <a:pt x="0" y="37"/>
                            <a:pt x="0" y="29"/>
                          </a:cubicBezTo>
                          <a:cubicBezTo>
                            <a:pt x="0" y="21"/>
                            <a:pt x="6" y="15"/>
                            <a:pt x="14" y="15"/>
                          </a:cubicBezTo>
                          <a:cubicBezTo>
                            <a:pt x="18" y="15"/>
                            <a:pt x="22" y="17"/>
                            <a:pt x="24" y="19"/>
                          </a:cubicBezTo>
                          <a:cubicBezTo>
                            <a:pt x="26" y="21"/>
                            <a:pt x="26" y="21"/>
                            <a:pt x="26" y="21"/>
                          </a:cubicBezTo>
                          <a:cubicBezTo>
                            <a:pt x="52" y="12"/>
                            <a:pt x="52" y="12"/>
                            <a:pt x="52" y="12"/>
                          </a:cubicBezTo>
                          <a:cubicBezTo>
                            <a:pt x="53" y="8"/>
                            <a:pt x="53" y="8"/>
                            <a:pt x="53" y="8"/>
                          </a:cubicBezTo>
                          <a:cubicBezTo>
                            <a:pt x="55" y="3"/>
                            <a:pt x="60" y="0"/>
                            <a:pt x="66" y="0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3" name="Group 492"/>
                <p:cNvGrpSpPr/>
                <p:nvPr/>
              </p:nvGrpSpPr>
              <p:grpSpPr>
                <a:xfrm>
                  <a:off x="10017033" y="6992917"/>
                  <a:ext cx="1025875" cy="1000728"/>
                  <a:chOff x="10273510" y="1738684"/>
                  <a:chExt cx="841531" cy="820902"/>
                </a:xfrm>
              </p:grpSpPr>
              <p:sp>
                <p:nvSpPr>
                  <p:cNvPr id="603" name="Rectangle 602"/>
                  <p:cNvSpPr/>
                  <p:nvPr/>
                </p:nvSpPr>
                <p:spPr>
                  <a:xfrm>
                    <a:off x="10273510" y="1738684"/>
                    <a:ext cx="841531" cy="820902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604" name="Group 603"/>
                  <p:cNvGrpSpPr/>
                  <p:nvPr/>
                </p:nvGrpSpPr>
                <p:grpSpPr>
                  <a:xfrm>
                    <a:off x="10473163" y="1834016"/>
                    <a:ext cx="411479" cy="660682"/>
                    <a:chOff x="10938474" y="2288230"/>
                    <a:chExt cx="582611" cy="911640"/>
                  </a:xfrm>
                </p:grpSpPr>
                <p:grpSp>
                  <p:nvGrpSpPr>
                    <p:cNvPr id="605" name="Group 604"/>
                    <p:cNvGrpSpPr/>
                    <p:nvPr/>
                  </p:nvGrpSpPr>
                  <p:grpSpPr>
                    <a:xfrm>
                      <a:off x="10938474" y="2401502"/>
                      <a:ext cx="466188" cy="798368"/>
                      <a:chOff x="10366130" y="4006415"/>
                      <a:chExt cx="466188" cy="798368"/>
                    </a:xfrm>
                  </p:grpSpPr>
                  <p:sp>
                    <p:nvSpPr>
                      <p:cNvPr id="621" name="Freeform 16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366130" y="4006415"/>
                        <a:ext cx="466188" cy="798368"/>
                      </a:xfrm>
                      <a:custGeom>
                        <a:avLst/>
                        <a:gdLst>
                          <a:gd name="T0" fmla="*/ 243 w 243"/>
                          <a:gd name="T1" fmla="*/ 400 h 416"/>
                          <a:gd name="T2" fmla="*/ 227 w 243"/>
                          <a:gd name="T3" fmla="*/ 416 h 416"/>
                          <a:gd name="T4" fmla="*/ 15 w 243"/>
                          <a:gd name="T5" fmla="*/ 416 h 416"/>
                          <a:gd name="T6" fmla="*/ 0 w 243"/>
                          <a:gd name="T7" fmla="*/ 400 h 416"/>
                          <a:gd name="T8" fmla="*/ 0 w 243"/>
                          <a:gd name="T9" fmla="*/ 15 h 416"/>
                          <a:gd name="T10" fmla="*/ 15 w 243"/>
                          <a:gd name="T11" fmla="*/ 0 h 416"/>
                          <a:gd name="T12" fmla="*/ 227 w 243"/>
                          <a:gd name="T13" fmla="*/ 0 h 416"/>
                          <a:gd name="T14" fmla="*/ 243 w 243"/>
                          <a:gd name="T15" fmla="*/ 15 h 416"/>
                          <a:gd name="T16" fmla="*/ 243 w 243"/>
                          <a:gd name="T17" fmla="*/ 400 h 41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43" h="416">
                            <a:moveTo>
                              <a:pt x="243" y="400"/>
                            </a:moveTo>
                            <a:cubicBezTo>
                              <a:pt x="243" y="409"/>
                              <a:pt x="236" y="416"/>
                              <a:pt x="227" y="416"/>
                            </a:cubicBezTo>
                            <a:cubicBezTo>
                              <a:pt x="15" y="416"/>
                              <a:pt x="15" y="416"/>
                              <a:pt x="15" y="416"/>
                            </a:cubicBezTo>
                            <a:cubicBezTo>
                              <a:pt x="7" y="416"/>
                              <a:pt x="0" y="409"/>
                              <a:pt x="0" y="400"/>
                            </a:cubicBezTo>
                            <a:cubicBezTo>
                              <a:pt x="0" y="15"/>
                              <a:pt x="0" y="15"/>
                              <a:pt x="0" y="15"/>
                            </a:cubicBezTo>
                            <a:cubicBezTo>
                              <a:pt x="0" y="7"/>
                              <a:pt x="7" y="0"/>
                              <a:pt x="15" y="0"/>
                            </a:cubicBezTo>
                            <a:cubicBezTo>
                              <a:pt x="227" y="0"/>
                              <a:pt x="227" y="0"/>
                              <a:pt x="227" y="0"/>
                            </a:cubicBezTo>
                            <a:cubicBezTo>
                              <a:pt x="236" y="0"/>
                              <a:pt x="243" y="7"/>
                              <a:pt x="243" y="15"/>
                            </a:cubicBezTo>
                            <a:lnTo>
                              <a:pt x="243" y="400"/>
                            </a:lnTo>
                            <a:close/>
                          </a:path>
                        </a:pathLst>
                      </a:cu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2" name="Rectangle 16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10800" y="4051085"/>
                        <a:ext cx="376037" cy="628623"/>
                      </a:xfrm>
                      <a:prstGeom prst="rect">
                        <a:avLst/>
                      </a:prstGeom>
                      <a:solidFill>
                        <a:srgbClr val="F5F5F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3" name="Rectangle 16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125805"/>
                        <a:ext cx="301317" cy="301317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4" name="Rectangle 16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447426"/>
                        <a:ext cx="86091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5" name="Rectangle 16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56179" y="4447426"/>
                        <a:ext cx="86091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6" name="Rectangle 16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63386" y="4447426"/>
                        <a:ext cx="86903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7" name="Rectangle 16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555445"/>
                        <a:ext cx="301317" cy="86091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606" name="Group 605"/>
                    <p:cNvGrpSpPr/>
                    <p:nvPr/>
                  </p:nvGrpSpPr>
                  <p:grpSpPr>
                    <a:xfrm>
                      <a:off x="11037277" y="2288230"/>
                      <a:ext cx="483808" cy="828670"/>
                      <a:chOff x="10375876" y="3286828"/>
                      <a:chExt cx="393093" cy="673293"/>
                    </a:xfrm>
                  </p:grpSpPr>
                  <p:sp>
                    <p:nvSpPr>
                      <p:cNvPr id="607" name="Freeform 14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375876" y="3286828"/>
                        <a:ext cx="393093" cy="673293"/>
                      </a:xfrm>
                      <a:custGeom>
                        <a:avLst/>
                        <a:gdLst>
                          <a:gd name="T0" fmla="*/ 205 w 205"/>
                          <a:gd name="T1" fmla="*/ 116 h 351"/>
                          <a:gd name="T2" fmla="*/ 205 w 205"/>
                          <a:gd name="T3" fmla="*/ 13 h 351"/>
                          <a:gd name="T4" fmla="*/ 191 w 205"/>
                          <a:gd name="T5" fmla="*/ 0 h 351"/>
                          <a:gd name="T6" fmla="*/ 13 w 205"/>
                          <a:gd name="T7" fmla="*/ 0 h 351"/>
                          <a:gd name="T8" fmla="*/ 0 w 205"/>
                          <a:gd name="T9" fmla="*/ 13 h 351"/>
                          <a:gd name="T10" fmla="*/ 0 w 205"/>
                          <a:gd name="T11" fmla="*/ 338 h 351"/>
                          <a:gd name="T12" fmla="*/ 13 w 205"/>
                          <a:gd name="T13" fmla="*/ 351 h 351"/>
                          <a:gd name="T14" fmla="*/ 191 w 205"/>
                          <a:gd name="T15" fmla="*/ 351 h 351"/>
                          <a:gd name="T16" fmla="*/ 205 w 205"/>
                          <a:gd name="T17" fmla="*/ 338 h 351"/>
                          <a:gd name="T18" fmla="*/ 205 w 205"/>
                          <a:gd name="T19" fmla="*/ 187 h 351"/>
                          <a:gd name="T20" fmla="*/ 205 w 205"/>
                          <a:gd name="T21" fmla="*/ 116 h 3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205" h="351">
                            <a:moveTo>
                              <a:pt x="205" y="116"/>
                            </a:moveTo>
                            <a:cubicBezTo>
                              <a:pt x="205" y="13"/>
                              <a:pt x="205" y="13"/>
                              <a:pt x="205" y="13"/>
                            </a:cubicBezTo>
                            <a:cubicBezTo>
                              <a:pt x="205" y="6"/>
                              <a:pt x="199" y="0"/>
                              <a:pt x="191" y="0"/>
                            </a:cubicBezTo>
                            <a:cubicBezTo>
                              <a:pt x="13" y="0"/>
                              <a:pt x="13" y="0"/>
                              <a:pt x="13" y="0"/>
                            </a:cubicBezTo>
                            <a:cubicBezTo>
                              <a:pt x="6" y="0"/>
                              <a:pt x="0" y="6"/>
                              <a:pt x="0" y="13"/>
                            </a:cubicBezTo>
                            <a:cubicBezTo>
                              <a:pt x="0" y="338"/>
                              <a:pt x="0" y="338"/>
                              <a:pt x="0" y="338"/>
                            </a:cubicBezTo>
                            <a:cubicBezTo>
                              <a:pt x="0" y="345"/>
                              <a:pt x="6" y="351"/>
                              <a:pt x="13" y="351"/>
                            </a:cubicBezTo>
                            <a:cubicBezTo>
                              <a:pt x="191" y="351"/>
                              <a:pt x="191" y="351"/>
                              <a:pt x="191" y="351"/>
                            </a:cubicBezTo>
                            <a:cubicBezTo>
                              <a:pt x="199" y="351"/>
                              <a:pt x="205" y="345"/>
                              <a:pt x="205" y="338"/>
                            </a:cubicBezTo>
                            <a:cubicBezTo>
                              <a:pt x="205" y="187"/>
                              <a:pt x="205" y="187"/>
                              <a:pt x="205" y="187"/>
                            </a:cubicBezTo>
                            <a:lnTo>
                              <a:pt x="205" y="116"/>
                            </a:lnTo>
                            <a:close/>
                          </a:path>
                        </a:pathLst>
                      </a:custGeom>
                      <a:solidFill>
                        <a:srgbClr val="D2D2D2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08" name="Rectangle 16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12424" y="3325813"/>
                        <a:ext cx="318373" cy="529538"/>
                      </a:xfrm>
                      <a:prstGeom prst="rect">
                        <a:avLst/>
                      </a:prstGeom>
                      <a:solidFill>
                        <a:srgbClr val="F5F5F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09" name="Rectangle 169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389162"/>
                        <a:ext cx="163247" cy="162435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0" name="Rectangle 17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479314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1" name="Rectangle 171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389162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2" name="Rectangle 17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3" name="Rectangle 17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4" name="Rectangle 17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5" name="Rectangle 17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6" name="Rectangle 17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7" name="Rectangle 17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8" name="Rectangle 17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9" name="Rectangle 179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0" name="Rectangle 18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  <p:sp>
              <p:nvSpPr>
                <p:cNvPr id="599" name="Rectangle 598"/>
                <p:cNvSpPr/>
                <p:nvPr/>
              </p:nvSpPr>
              <p:spPr>
                <a:xfrm>
                  <a:off x="11062069" y="6992916"/>
                  <a:ext cx="1018140" cy="1001688"/>
                </a:xfrm>
                <a:prstGeom prst="rect">
                  <a:avLst/>
                </a:prstGeom>
                <a:solidFill>
                  <a:srgbClr val="00205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95" name="Group 494"/>
                <p:cNvGrpSpPr/>
                <p:nvPr/>
              </p:nvGrpSpPr>
              <p:grpSpPr>
                <a:xfrm>
                  <a:off x="10017034" y="8017582"/>
                  <a:ext cx="1025875" cy="1001688"/>
                  <a:chOff x="10279856" y="2776122"/>
                  <a:chExt cx="841531" cy="821690"/>
                </a:xfrm>
              </p:grpSpPr>
              <p:sp>
                <p:nvSpPr>
                  <p:cNvPr id="552" name="Rectangle 551"/>
                  <p:cNvSpPr/>
                  <p:nvPr/>
                </p:nvSpPr>
                <p:spPr>
                  <a:xfrm>
                    <a:off x="10279856" y="2776122"/>
                    <a:ext cx="841531" cy="821690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553" name="Group 552"/>
                  <p:cNvGrpSpPr/>
                  <p:nvPr/>
                </p:nvGrpSpPr>
                <p:grpSpPr>
                  <a:xfrm>
                    <a:off x="10408537" y="2871654"/>
                    <a:ext cx="548040" cy="630626"/>
                    <a:chOff x="7085032" y="5479932"/>
                    <a:chExt cx="661604" cy="741921"/>
                  </a:xfrm>
                </p:grpSpPr>
                <p:sp>
                  <p:nvSpPr>
                    <p:cNvPr id="554" name="Rectangle 6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83494" y="5626007"/>
                      <a:ext cx="98889" cy="59233"/>
                    </a:xfrm>
                    <a:prstGeom prst="rect">
                      <a:avLst/>
                    </a:pr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5" name="Freeform 697"/>
                    <p:cNvSpPr>
                      <a:spLocks/>
                    </p:cNvSpPr>
                    <p:nvPr/>
                  </p:nvSpPr>
                  <p:spPr bwMode="auto">
                    <a:xfrm>
                      <a:off x="7572451" y="5567778"/>
                      <a:ext cx="119470" cy="26103"/>
                    </a:xfrm>
                    <a:custGeom>
                      <a:avLst/>
                      <a:gdLst>
                        <a:gd name="T0" fmla="*/ 97 w 97"/>
                        <a:gd name="T1" fmla="*/ 16 h 21"/>
                        <a:gd name="T2" fmla="*/ 92 w 97"/>
                        <a:gd name="T3" fmla="*/ 21 h 21"/>
                        <a:gd name="T4" fmla="*/ 5 w 97"/>
                        <a:gd name="T5" fmla="*/ 21 h 21"/>
                        <a:gd name="T6" fmla="*/ 0 w 97"/>
                        <a:gd name="T7" fmla="*/ 16 h 21"/>
                        <a:gd name="T8" fmla="*/ 0 w 97"/>
                        <a:gd name="T9" fmla="*/ 5 h 21"/>
                        <a:gd name="T10" fmla="*/ 5 w 97"/>
                        <a:gd name="T11" fmla="*/ 0 h 21"/>
                        <a:gd name="T12" fmla="*/ 92 w 97"/>
                        <a:gd name="T13" fmla="*/ 0 h 21"/>
                        <a:gd name="T14" fmla="*/ 97 w 97"/>
                        <a:gd name="T15" fmla="*/ 5 h 21"/>
                        <a:gd name="T16" fmla="*/ 97 w 97"/>
                        <a:gd name="T17" fmla="*/ 16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7" h="21">
                          <a:moveTo>
                            <a:pt x="97" y="16"/>
                          </a:moveTo>
                          <a:cubicBezTo>
                            <a:pt x="97" y="18"/>
                            <a:pt x="95" y="21"/>
                            <a:pt x="92" y="21"/>
                          </a:cubicBezTo>
                          <a:cubicBezTo>
                            <a:pt x="5" y="21"/>
                            <a:pt x="5" y="21"/>
                            <a:pt x="5" y="21"/>
                          </a:cubicBezTo>
                          <a:cubicBezTo>
                            <a:pt x="2" y="21"/>
                            <a:pt x="0" y="18"/>
                            <a:pt x="0" y="16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5" y="0"/>
                          </a:cubicBezTo>
                          <a:cubicBezTo>
                            <a:pt x="92" y="0"/>
                            <a:pt x="92" y="0"/>
                            <a:pt x="92" y="0"/>
                          </a:cubicBezTo>
                          <a:cubicBezTo>
                            <a:pt x="95" y="0"/>
                            <a:pt x="97" y="2"/>
                            <a:pt x="97" y="5"/>
                          </a:cubicBezTo>
                          <a:lnTo>
                            <a:pt x="97" y="16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6" name="Rectangle 69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70945" y="5661647"/>
                      <a:ext cx="120976" cy="53209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7" name="Rectangle 69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65925" y="5899082"/>
                      <a:ext cx="132522" cy="43672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8" name="Rectangle 70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65925" y="5899082"/>
                      <a:ext cx="34637" cy="286127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9" name="Freeform 701"/>
                    <p:cNvSpPr>
                      <a:spLocks/>
                    </p:cNvSpPr>
                    <p:nvPr/>
                  </p:nvSpPr>
                  <p:spPr bwMode="auto">
                    <a:xfrm>
                      <a:off x="7521751" y="6181193"/>
                      <a:ext cx="78810" cy="40660"/>
                    </a:xfrm>
                    <a:custGeom>
                      <a:avLst/>
                      <a:gdLst>
                        <a:gd name="T0" fmla="*/ 36 w 64"/>
                        <a:gd name="T1" fmla="*/ 0 h 33"/>
                        <a:gd name="T2" fmla="*/ 0 w 64"/>
                        <a:gd name="T3" fmla="*/ 33 h 33"/>
                        <a:gd name="T4" fmla="*/ 36 w 64"/>
                        <a:gd name="T5" fmla="*/ 33 h 33"/>
                        <a:gd name="T6" fmla="*/ 64 w 64"/>
                        <a:gd name="T7" fmla="*/ 33 h 33"/>
                        <a:gd name="T8" fmla="*/ 64 w 64"/>
                        <a:gd name="T9" fmla="*/ 0 h 33"/>
                        <a:gd name="T10" fmla="*/ 36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36" y="0"/>
                          </a:moveTo>
                          <a:cubicBezTo>
                            <a:pt x="17" y="0"/>
                            <a:pt x="1" y="14"/>
                            <a:pt x="0" y="33"/>
                          </a:cubicBezTo>
                          <a:cubicBezTo>
                            <a:pt x="36" y="33"/>
                            <a:pt x="36" y="33"/>
                            <a:pt x="36" y="33"/>
                          </a:cubicBezTo>
                          <a:cubicBezTo>
                            <a:pt x="64" y="33"/>
                            <a:pt x="64" y="33"/>
                            <a:pt x="64" y="33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26272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0" name="Rectangle 70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63810" y="5899082"/>
                      <a:ext cx="34637" cy="286127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1" name="Freeform 703"/>
                    <p:cNvSpPr>
                      <a:spLocks/>
                    </p:cNvSpPr>
                    <p:nvPr/>
                  </p:nvSpPr>
                  <p:spPr bwMode="auto">
                    <a:xfrm>
                      <a:off x="7619135" y="6181193"/>
                      <a:ext cx="79312" cy="40660"/>
                    </a:xfrm>
                    <a:custGeom>
                      <a:avLst/>
                      <a:gdLst>
                        <a:gd name="T0" fmla="*/ 36 w 64"/>
                        <a:gd name="T1" fmla="*/ 0 h 33"/>
                        <a:gd name="T2" fmla="*/ 0 w 64"/>
                        <a:gd name="T3" fmla="*/ 33 h 33"/>
                        <a:gd name="T4" fmla="*/ 36 w 64"/>
                        <a:gd name="T5" fmla="*/ 33 h 33"/>
                        <a:gd name="T6" fmla="*/ 64 w 64"/>
                        <a:gd name="T7" fmla="*/ 33 h 33"/>
                        <a:gd name="T8" fmla="*/ 64 w 64"/>
                        <a:gd name="T9" fmla="*/ 0 h 33"/>
                        <a:gd name="T10" fmla="*/ 36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36" y="0"/>
                          </a:moveTo>
                          <a:cubicBezTo>
                            <a:pt x="17" y="0"/>
                            <a:pt x="2" y="14"/>
                            <a:pt x="0" y="33"/>
                          </a:cubicBezTo>
                          <a:cubicBezTo>
                            <a:pt x="36" y="33"/>
                            <a:pt x="36" y="33"/>
                            <a:pt x="36" y="33"/>
                          </a:cubicBezTo>
                          <a:cubicBezTo>
                            <a:pt x="64" y="33"/>
                            <a:pt x="64" y="33"/>
                            <a:pt x="64" y="33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26272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2" name="Rectangle 70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704471" y="5750999"/>
                      <a:ext cx="36142" cy="211332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3" name="Freeform 705"/>
                    <p:cNvSpPr>
                      <a:spLocks/>
                    </p:cNvSpPr>
                    <p:nvPr/>
                  </p:nvSpPr>
                  <p:spPr bwMode="auto">
                    <a:xfrm>
                      <a:off x="7704471" y="5926691"/>
                      <a:ext cx="36142" cy="71281"/>
                    </a:xfrm>
                    <a:custGeom>
                      <a:avLst/>
                      <a:gdLst>
                        <a:gd name="T0" fmla="*/ 0 w 29"/>
                        <a:gd name="T1" fmla="*/ 0 h 58"/>
                        <a:gd name="T2" fmla="*/ 0 w 29"/>
                        <a:gd name="T3" fmla="*/ 58 h 58"/>
                        <a:gd name="T4" fmla="*/ 29 w 29"/>
                        <a:gd name="T5" fmla="*/ 29 h 58"/>
                        <a:gd name="T6" fmla="*/ 0 w 29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0" y="0"/>
                          </a:moveTo>
                          <a:cubicBezTo>
                            <a:pt x="0" y="58"/>
                            <a:pt x="0" y="58"/>
                            <a:pt x="0" y="58"/>
                          </a:cubicBezTo>
                          <a:cubicBezTo>
                            <a:pt x="16" y="58"/>
                            <a:pt x="29" y="45"/>
                            <a:pt x="29" y="29"/>
                          </a:cubicBezTo>
                          <a:cubicBezTo>
                            <a:pt x="29" y="13"/>
                            <a:pt x="16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4" name="Rectangle 70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23759" y="5750999"/>
                      <a:ext cx="36142" cy="211332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5" name="Freeform 707"/>
                    <p:cNvSpPr>
                      <a:spLocks/>
                    </p:cNvSpPr>
                    <p:nvPr/>
                  </p:nvSpPr>
                  <p:spPr bwMode="auto">
                    <a:xfrm>
                      <a:off x="7523759" y="5926691"/>
                      <a:ext cx="36142" cy="71281"/>
                    </a:xfrm>
                    <a:custGeom>
                      <a:avLst/>
                      <a:gdLst>
                        <a:gd name="T0" fmla="*/ 29 w 29"/>
                        <a:gd name="T1" fmla="*/ 0 h 58"/>
                        <a:gd name="T2" fmla="*/ 29 w 29"/>
                        <a:gd name="T3" fmla="*/ 58 h 58"/>
                        <a:gd name="T4" fmla="*/ 0 w 29"/>
                        <a:gd name="T5" fmla="*/ 29 h 58"/>
                        <a:gd name="T6" fmla="*/ 29 w 29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29" y="0"/>
                          </a:moveTo>
                          <a:cubicBezTo>
                            <a:pt x="29" y="58"/>
                            <a:pt x="29" y="58"/>
                            <a:pt x="29" y="58"/>
                          </a:cubicBezTo>
                          <a:cubicBezTo>
                            <a:pt x="13" y="58"/>
                            <a:pt x="0" y="45"/>
                            <a:pt x="0" y="29"/>
                          </a:cubicBezTo>
                          <a:cubicBezTo>
                            <a:pt x="0" y="13"/>
                            <a:pt x="13" y="0"/>
                            <a:pt x="29" y="0"/>
                          </a:cubicBez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6" name="Freeform 708"/>
                    <p:cNvSpPr>
                      <a:spLocks/>
                    </p:cNvSpPr>
                    <p:nvPr/>
                  </p:nvSpPr>
                  <p:spPr bwMode="auto">
                    <a:xfrm>
                      <a:off x="7610601" y="5613458"/>
                      <a:ext cx="42166" cy="69273"/>
                    </a:xfrm>
                    <a:custGeom>
                      <a:avLst/>
                      <a:gdLst>
                        <a:gd name="T0" fmla="*/ 42 w 84"/>
                        <a:gd name="T1" fmla="*/ 138 h 138"/>
                        <a:gd name="T2" fmla="*/ 0 w 84"/>
                        <a:gd name="T3" fmla="*/ 96 h 138"/>
                        <a:gd name="T4" fmla="*/ 0 w 84"/>
                        <a:gd name="T5" fmla="*/ 0 h 138"/>
                        <a:gd name="T6" fmla="*/ 84 w 84"/>
                        <a:gd name="T7" fmla="*/ 0 h 138"/>
                        <a:gd name="T8" fmla="*/ 84 w 84"/>
                        <a:gd name="T9" fmla="*/ 96 h 138"/>
                        <a:gd name="T10" fmla="*/ 42 w 84"/>
                        <a:gd name="T11" fmla="*/ 138 h 1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138">
                          <a:moveTo>
                            <a:pt x="42" y="138"/>
                          </a:moveTo>
                          <a:lnTo>
                            <a:pt x="0" y="96"/>
                          </a:lnTo>
                          <a:lnTo>
                            <a:pt x="0" y="0"/>
                          </a:lnTo>
                          <a:lnTo>
                            <a:pt x="84" y="0"/>
                          </a:lnTo>
                          <a:lnTo>
                            <a:pt x="84" y="96"/>
                          </a:lnTo>
                          <a:lnTo>
                            <a:pt x="42" y="138"/>
                          </a:ln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7" name="Freeform 709"/>
                    <p:cNvSpPr>
                      <a:spLocks/>
                    </p:cNvSpPr>
                    <p:nvPr/>
                  </p:nvSpPr>
                  <p:spPr bwMode="auto">
                    <a:xfrm>
                      <a:off x="7610601" y="5613458"/>
                      <a:ext cx="42166" cy="36142"/>
                    </a:xfrm>
                    <a:custGeom>
                      <a:avLst/>
                      <a:gdLst>
                        <a:gd name="T0" fmla="*/ 0 w 34"/>
                        <a:gd name="T1" fmla="*/ 27 h 29"/>
                        <a:gd name="T2" fmla="*/ 17 w 34"/>
                        <a:gd name="T3" fmla="*/ 29 h 29"/>
                        <a:gd name="T4" fmla="*/ 34 w 34"/>
                        <a:gd name="T5" fmla="*/ 27 h 29"/>
                        <a:gd name="T6" fmla="*/ 34 w 34"/>
                        <a:gd name="T7" fmla="*/ 0 h 29"/>
                        <a:gd name="T8" fmla="*/ 0 w 34"/>
                        <a:gd name="T9" fmla="*/ 0 h 29"/>
                        <a:gd name="T10" fmla="*/ 0 w 34"/>
                        <a:gd name="T11" fmla="*/ 27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" h="29">
                          <a:moveTo>
                            <a:pt x="0" y="27"/>
                          </a:moveTo>
                          <a:cubicBezTo>
                            <a:pt x="6" y="28"/>
                            <a:pt x="11" y="29"/>
                            <a:pt x="17" y="29"/>
                          </a:cubicBezTo>
                          <a:cubicBezTo>
                            <a:pt x="23" y="29"/>
                            <a:pt x="29" y="28"/>
                            <a:pt x="34" y="27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0" y="27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8" name="Freeform 710"/>
                    <p:cNvSpPr>
                      <a:spLocks/>
                    </p:cNvSpPr>
                    <p:nvPr/>
                  </p:nvSpPr>
                  <p:spPr bwMode="auto">
                    <a:xfrm>
                      <a:off x="7581988" y="5501015"/>
                      <a:ext cx="100395" cy="67767"/>
                    </a:xfrm>
                    <a:custGeom>
                      <a:avLst/>
                      <a:gdLst>
                        <a:gd name="T0" fmla="*/ 40 w 81"/>
                        <a:gd name="T1" fmla="*/ 0 h 55"/>
                        <a:gd name="T2" fmla="*/ 0 w 81"/>
                        <a:gd name="T3" fmla="*/ 40 h 55"/>
                        <a:gd name="T4" fmla="*/ 0 w 81"/>
                        <a:gd name="T5" fmla="*/ 55 h 55"/>
                        <a:gd name="T6" fmla="*/ 81 w 81"/>
                        <a:gd name="T7" fmla="*/ 55 h 55"/>
                        <a:gd name="T8" fmla="*/ 81 w 81"/>
                        <a:gd name="T9" fmla="*/ 40 h 55"/>
                        <a:gd name="T10" fmla="*/ 40 w 81"/>
                        <a:gd name="T11" fmla="*/ 0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1" h="55">
                          <a:moveTo>
                            <a:pt x="40" y="0"/>
                          </a:moveTo>
                          <a:cubicBezTo>
                            <a:pt x="18" y="0"/>
                            <a:pt x="0" y="18"/>
                            <a:pt x="0" y="40"/>
                          </a:cubicBezTo>
                          <a:cubicBezTo>
                            <a:pt x="0" y="55"/>
                            <a:pt x="0" y="55"/>
                            <a:pt x="0" y="55"/>
                          </a:cubicBezTo>
                          <a:cubicBezTo>
                            <a:pt x="81" y="55"/>
                            <a:pt x="81" y="55"/>
                            <a:pt x="81" y="55"/>
                          </a:cubicBezTo>
                          <a:cubicBezTo>
                            <a:pt x="81" y="40"/>
                            <a:pt x="81" y="40"/>
                            <a:pt x="81" y="40"/>
                          </a:cubicBezTo>
                          <a:cubicBezTo>
                            <a:pt x="81" y="18"/>
                            <a:pt x="63" y="0"/>
                            <a:pt x="4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9" name="Freeform 711"/>
                    <p:cNvSpPr>
                      <a:spLocks/>
                    </p:cNvSpPr>
                    <p:nvPr/>
                  </p:nvSpPr>
                  <p:spPr bwMode="auto">
                    <a:xfrm>
                      <a:off x="7583494" y="5548201"/>
                      <a:ext cx="98889" cy="93870"/>
                    </a:xfrm>
                    <a:custGeom>
                      <a:avLst/>
                      <a:gdLst>
                        <a:gd name="T0" fmla="*/ 0 w 80"/>
                        <a:gd name="T1" fmla="*/ 0 h 76"/>
                        <a:gd name="T2" fmla="*/ 0 w 80"/>
                        <a:gd name="T3" fmla="*/ 63 h 76"/>
                        <a:gd name="T4" fmla="*/ 0 w 80"/>
                        <a:gd name="T5" fmla="*/ 63 h 76"/>
                        <a:gd name="T6" fmla="*/ 39 w 80"/>
                        <a:gd name="T7" fmla="*/ 76 h 76"/>
                        <a:gd name="T8" fmla="*/ 79 w 80"/>
                        <a:gd name="T9" fmla="*/ 63 h 76"/>
                        <a:gd name="T10" fmla="*/ 80 w 80"/>
                        <a:gd name="T11" fmla="*/ 63 h 76"/>
                        <a:gd name="T12" fmla="*/ 80 w 80"/>
                        <a:gd name="T13" fmla="*/ 0 h 76"/>
                        <a:gd name="T14" fmla="*/ 0 w 80"/>
                        <a:gd name="T15" fmla="*/ 0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80" h="76">
                          <a:moveTo>
                            <a:pt x="0" y="0"/>
                          </a:move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11" y="71"/>
                            <a:pt x="24" y="76"/>
                            <a:pt x="39" y="76"/>
                          </a:cubicBezTo>
                          <a:cubicBezTo>
                            <a:pt x="54" y="76"/>
                            <a:pt x="68" y="71"/>
                            <a:pt x="79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0"/>
                            <a:pt x="80" y="0"/>
                            <a:pt x="80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0" name="Freeform 712"/>
                    <p:cNvSpPr>
                      <a:spLocks/>
                    </p:cNvSpPr>
                    <p:nvPr/>
                  </p:nvSpPr>
                  <p:spPr bwMode="auto">
                    <a:xfrm>
                      <a:off x="7583494" y="5501015"/>
                      <a:ext cx="69273" cy="74292"/>
                    </a:xfrm>
                    <a:custGeom>
                      <a:avLst/>
                      <a:gdLst>
                        <a:gd name="T0" fmla="*/ 56 w 56"/>
                        <a:gd name="T1" fmla="*/ 4 h 60"/>
                        <a:gd name="T2" fmla="*/ 40 w 56"/>
                        <a:gd name="T3" fmla="*/ 0 h 60"/>
                        <a:gd name="T4" fmla="*/ 0 w 56"/>
                        <a:gd name="T5" fmla="*/ 40 h 60"/>
                        <a:gd name="T6" fmla="*/ 0 w 56"/>
                        <a:gd name="T7" fmla="*/ 60 h 60"/>
                        <a:gd name="T8" fmla="*/ 56 w 56"/>
                        <a:gd name="T9" fmla="*/ 4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6" h="60">
                          <a:moveTo>
                            <a:pt x="56" y="4"/>
                          </a:moveTo>
                          <a:cubicBezTo>
                            <a:pt x="51" y="2"/>
                            <a:pt x="46" y="0"/>
                            <a:pt x="40" y="0"/>
                          </a:cubicBezTo>
                          <a:cubicBezTo>
                            <a:pt x="18" y="0"/>
                            <a:pt x="0" y="18"/>
                            <a:pt x="0" y="40"/>
                          </a:cubicBezTo>
                          <a:cubicBezTo>
                            <a:pt x="0" y="60"/>
                            <a:pt x="0" y="60"/>
                            <a:pt x="0" y="60"/>
                          </a:cubicBezTo>
                          <a:cubicBezTo>
                            <a:pt x="29" y="57"/>
                            <a:pt x="53" y="33"/>
                            <a:pt x="56" y="4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1" name="Freeform 713"/>
                    <p:cNvSpPr>
                      <a:spLocks/>
                    </p:cNvSpPr>
                    <p:nvPr/>
                  </p:nvSpPr>
                  <p:spPr bwMode="auto">
                    <a:xfrm>
                      <a:off x="7517735" y="5661647"/>
                      <a:ext cx="228901" cy="265043"/>
                    </a:xfrm>
                    <a:custGeom>
                      <a:avLst/>
                      <a:gdLst>
                        <a:gd name="T0" fmla="*/ 185 w 185"/>
                        <a:gd name="T1" fmla="*/ 72 h 214"/>
                        <a:gd name="T2" fmla="*/ 185 w 185"/>
                        <a:gd name="T3" fmla="*/ 39 h 214"/>
                        <a:gd name="T4" fmla="*/ 146 w 185"/>
                        <a:gd name="T5" fmla="*/ 0 h 214"/>
                        <a:gd name="T6" fmla="*/ 142 w 185"/>
                        <a:gd name="T7" fmla="*/ 0 h 214"/>
                        <a:gd name="T8" fmla="*/ 92 w 185"/>
                        <a:gd name="T9" fmla="*/ 34 h 214"/>
                        <a:gd name="T10" fmla="*/ 43 w 185"/>
                        <a:gd name="T11" fmla="*/ 0 h 214"/>
                        <a:gd name="T12" fmla="*/ 39 w 185"/>
                        <a:gd name="T13" fmla="*/ 0 h 214"/>
                        <a:gd name="T14" fmla="*/ 0 w 185"/>
                        <a:gd name="T15" fmla="*/ 39 h 214"/>
                        <a:gd name="T16" fmla="*/ 0 w 185"/>
                        <a:gd name="T17" fmla="*/ 72 h 214"/>
                        <a:gd name="T18" fmla="*/ 0 w 185"/>
                        <a:gd name="T19" fmla="*/ 214 h 214"/>
                        <a:gd name="T20" fmla="*/ 34 w 185"/>
                        <a:gd name="T21" fmla="*/ 214 h 214"/>
                        <a:gd name="T22" fmla="*/ 34 w 185"/>
                        <a:gd name="T23" fmla="*/ 72 h 214"/>
                        <a:gd name="T24" fmla="*/ 39 w 185"/>
                        <a:gd name="T25" fmla="*/ 72 h 214"/>
                        <a:gd name="T26" fmla="*/ 39 w 185"/>
                        <a:gd name="T27" fmla="*/ 192 h 214"/>
                        <a:gd name="T28" fmla="*/ 146 w 185"/>
                        <a:gd name="T29" fmla="*/ 192 h 214"/>
                        <a:gd name="T30" fmla="*/ 146 w 185"/>
                        <a:gd name="T31" fmla="*/ 72 h 214"/>
                        <a:gd name="T32" fmla="*/ 151 w 185"/>
                        <a:gd name="T33" fmla="*/ 72 h 214"/>
                        <a:gd name="T34" fmla="*/ 151 w 185"/>
                        <a:gd name="T35" fmla="*/ 214 h 214"/>
                        <a:gd name="T36" fmla="*/ 185 w 185"/>
                        <a:gd name="T37" fmla="*/ 214 h 214"/>
                        <a:gd name="T38" fmla="*/ 185 w 185"/>
                        <a:gd name="T39" fmla="*/ 72 h 2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185" h="214">
                          <a:moveTo>
                            <a:pt x="185" y="72"/>
                          </a:moveTo>
                          <a:cubicBezTo>
                            <a:pt x="185" y="39"/>
                            <a:pt x="185" y="39"/>
                            <a:pt x="185" y="39"/>
                          </a:cubicBezTo>
                          <a:cubicBezTo>
                            <a:pt x="185" y="18"/>
                            <a:pt x="167" y="0"/>
                            <a:pt x="146" y="0"/>
                          </a:cubicBezTo>
                          <a:cubicBezTo>
                            <a:pt x="142" y="0"/>
                            <a:pt x="142" y="0"/>
                            <a:pt x="142" y="0"/>
                          </a:cubicBezTo>
                          <a:cubicBezTo>
                            <a:pt x="134" y="20"/>
                            <a:pt x="115" y="34"/>
                            <a:pt x="92" y="34"/>
                          </a:cubicBezTo>
                          <a:cubicBezTo>
                            <a:pt x="70" y="34"/>
                            <a:pt x="51" y="20"/>
                            <a:pt x="43" y="0"/>
                          </a:cubicBezTo>
                          <a:cubicBezTo>
                            <a:pt x="39" y="0"/>
                            <a:pt x="39" y="0"/>
                            <a:pt x="39" y="0"/>
                          </a:cubicBezTo>
                          <a:cubicBezTo>
                            <a:pt x="17" y="0"/>
                            <a:pt x="0" y="18"/>
                            <a:pt x="0" y="39"/>
                          </a:cubicBezTo>
                          <a:cubicBezTo>
                            <a:pt x="0" y="72"/>
                            <a:pt x="0" y="72"/>
                            <a:pt x="0" y="72"/>
                          </a:cubicBezTo>
                          <a:cubicBezTo>
                            <a:pt x="0" y="214"/>
                            <a:pt x="0" y="214"/>
                            <a:pt x="0" y="214"/>
                          </a:cubicBezTo>
                          <a:cubicBezTo>
                            <a:pt x="34" y="214"/>
                            <a:pt x="34" y="214"/>
                            <a:pt x="34" y="214"/>
                          </a:cubicBezTo>
                          <a:cubicBezTo>
                            <a:pt x="34" y="72"/>
                            <a:pt x="34" y="72"/>
                            <a:pt x="34" y="72"/>
                          </a:cubicBezTo>
                          <a:cubicBezTo>
                            <a:pt x="39" y="72"/>
                            <a:pt x="39" y="72"/>
                            <a:pt x="39" y="72"/>
                          </a:cubicBezTo>
                          <a:cubicBezTo>
                            <a:pt x="39" y="192"/>
                            <a:pt x="39" y="192"/>
                            <a:pt x="39" y="192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ubicBezTo>
                            <a:pt x="146" y="72"/>
                            <a:pt x="146" y="72"/>
                            <a:pt x="146" y="72"/>
                          </a:cubicBezTo>
                          <a:cubicBezTo>
                            <a:pt x="151" y="72"/>
                            <a:pt x="151" y="72"/>
                            <a:pt x="151" y="72"/>
                          </a:cubicBezTo>
                          <a:cubicBezTo>
                            <a:pt x="151" y="214"/>
                            <a:pt x="151" y="214"/>
                            <a:pt x="151" y="214"/>
                          </a:cubicBezTo>
                          <a:cubicBezTo>
                            <a:pt x="185" y="214"/>
                            <a:pt x="185" y="214"/>
                            <a:pt x="185" y="214"/>
                          </a:cubicBezTo>
                          <a:cubicBezTo>
                            <a:pt x="185" y="72"/>
                            <a:pt x="185" y="72"/>
                            <a:pt x="185" y="72"/>
                          </a:cubicBezTo>
                          <a:close/>
                        </a:path>
                      </a:pathLst>
                    </a:cu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2" name="Freeform 726"/>
                    <p:cNvSpPr>
                      <a:spLocks/>
                    </p:cNvSpPr>
                    <p:nvPr/>
                  </p:nvSpPr>
                  <p:spPr bwMode="auto">
                    <a:xfrm>
                      <a:off x="7569941" y="5594884"/>
                      <a:ext cx="17067" cy="16063"/>
                    </a:xfrm>
                    <a:custGeom>
                      <a:avLst/>
                      <a:gdLst>
                        <a:gd name="T0" fmla="*/ 17 w 34"/>
                        <a:gd name="T1" fmla="*/ 0 h 32"/>
                        <a:gd name="T2" fmla="*/ 22 w 34"/>
                        <a:gd name="T3" fmla="*/ 10 h 32"/>
                        <a:gd name="T4" fmla="*/ 34 w 34"/>
                        <a:gd name="T5" fmla="*/ 12 h 32"/>
                        <a:gd name="T6" fmla="*/ 27 w 34"/>
                        <a:gd name="T7" fmla="*/ 22 h 32"/>
                        <a:gd name="T8" fmla="*/ 27 w 34"/>
                        <a:gd name="T9" fmla="*/ 32 h 32"/>
                        <a:gd name="T10" fmla="*/ 17 w 34"/>
                        <a:gd name="T11" fmla="*/ 27 h 32"/>
                        <a:gd name="T12" fmla="*/ 7 w 34"/>
                        <a:gd name="T13" fmla="*/ 32 h 32"/>
                        <a:gd name="T14" fmla="*/ 7 w 34"/>
                        <a:gd name="T15" fmla="*/ 22 h 32"/>
                        <a:gd name="T16" fmla="*/ 0 w 34"/>
                        <a:gd name="T17" fmla="*/ 12 h 32"/>
                        <a:gd name="T18" fmla="*/ 12 w 34"/>
                        <a:gd name="T19" fmla="*/ 10 h 32"/>
                        <a:gd name="T20" fmla="*/ 17 w 34"/>
                        <a:gd name="T21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4" h="32">
                          <a:moveTo>
                            <a:pt x="17" y="0"/>
                          </a:moveTo>
                          <a:lnTo>
                            <a:pt x="22" y="10"/>
                          </a:lnTo>
                          <a:lnTo>
                            <a:pt x="34" y="12"/>
                          </a:lnTo>
                          <a:lnTo>
                            <a:pt x="27" y="22"/>
                          </a:lnTo>
                          <a:lnTo>
                            <a:pt x="27" y="32"/>
                          </a:lnTo>
                          <a:lnTo>
                            <a:pt x="17" y="27"/>
                          </a:lnTo>
                          <a:lnTo>
                            <a:pt x="7" y="32"/>
                          </a:lnTo>
                          <a:lnTo>
                            <a:pt x="7" y="22"/>
                          </a:lnTo>
                          <a:lnTo>
                            <a:pt x="0" y="12"/>
                          </a:lnTo>
                          <a:lnTo>
                            <a:pt x="12" y="10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3" name="Oval 72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95542" y="5581331"/>
                      <a:ext cx="9036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4" name="Oval 72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59795" y="5581331"/>
                      <a:ext cx="9036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5" name="Freeform 729"/>
                    <p:cNvSpPr>
                      <a:spLocks/>
                    </p:cNvSpPr>
                    <p:nvPr/>
                  </p:nvSpPr>
                  <p:spPr bwMode="auto">
                    <a:xfrm>
                      <a:off x="7624154" y="5602414"/>
                      <a:ext cx="15059" cy="5020"/>
                    </a:xfrm>
                    <a:custGeom>
                      <a:avLst/>
                      <a:gdLst>
                        <a:gd name="T0" fmla="*/ 0 w 12"/>
                        <a:gd name="T1" fmla="*/ 0 h 4"/>
                        <a:gd name="T2" fmla="*/ 6 w 12"/>
                        <a:gd name="T3" fmla="*/ 4 h 4"/>
                        <a:gd name="T4" fmla="*/ 12 w 12"/>
                        <a:gd name="T5" fmla="*/ 0 h 4"/>
                        <a:gd name="T6" fmla="*/ 0 w 12"/>
                        <a:gd name="T7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0"/>
                          </a:moveTo>
                          <a:cubicBezTo>
                            <a:pt x="1" y="3"/>
                            <a:pt x="3" y="4"/>
                            <a:pt x="6" y="4"/>
                          </a:cubicBezTo>
                          <a:cubicBezTo>
                            <a:pt x="9" y="4"/>
                            <a:pt x="11" y="3"/>
                            <a:pt x="12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6" name="Freeform 730"/>
                    <p:cNvSpPr>
                      <a:spLocks/>
                    </p:cNvSpPr>
                    <p:nvPr/>
                  </p:nvSpPr>
                  <p:spPr bwMode="auto">
                    <a:xfrm>
                      <a:off x="7616625" y="5615967"/>
                      <a:ext cx="29617" cy="6024"/>
                    </a:xfrm>
                    <a:custGeom>
                      <a:avLst/>
                      <a:gdLst>
                        <a:gd name="T0" fmla="*/ 0 w 24"/>
                        <a:gd name="T1" fmla="*/ 0 h 5"/>
                        <a:gd name="T2" fmla="*/ 12 w 24"/>
                        <a:gd name="T3" fmla="*/ 5 h 5"/>
                        <a:gd name="T4" fmla="*/ 24 w 24"/>
                        <a:gd name="T5" fmla="*/ 0 h 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4" h="5">
                          <a:moveTo>
                            <a:pt x="0" y="0"/>
                          </a:moveTo>
                          <a:cubicBezTo>
                            <a:pt x="3" y="3"/>
                            <a:pt x="7" y="5"/>
                            <a:pt x="12" y="5"/>
                          </a:cubicBezTo>
                          <a:cubicBezTo>
                            <a:pt x="17" y="5"/>
                            <a:pt x="21" y="3"/>
                            <a:pt x="24" y="0"/>
                          </a:cubicBezTo>
                        </a:path>
                      </a:pathLst>
                    </a:custGeom>
                    <a:noFill/>
                    <a:ln w="14288" cap="rnd">
                      <a:solidFill>
                        <a:srgbClr val="DD5900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7" name="Freeform 731"/>
                    <p:cNvSpPr>
                      <a:spLocks/>
                    </p:cNvSpPr>
                    <p:nvPr/>
                  </p:nvSpPr>
                  <p:spPr bwMode="auto">
                    <a:xfrm>
                      <a:off x="7139245" y="5551714"/>
                      <a:ext cx="121478" cy="24597"/>
                    </a:xfrm>
                    <a:custGeom>
                      <a:avLst/>
                      <a:gdLst>
                        <a:gd name="T0" fmla="*/ 0 w 98"/>
                        <a:gd name="T1" fmla="*/ 15 h 20"/>
                        <a:gd name="T2" fmla="*/ 5 w 98"/>
                        <a:gd name="T3" fmla="*/ 20 h 20"/>
                        <a:gd name="T4" fmla="*/ 93 w 98"/>
                        <a:gd name="T5" fmla="*/ 20 h 20"/>
                        <a:gd name="T6" fmla="*/ 98 w 98"/>
                        <a:gd name="T7" fmla="*/ 15 h 20"/>
                        <a:gd name="T8" fmla="*/ 98 w 98"/>
                        <a:gd name="T9" fmla="*/ 4 h 20"/>
                        <a:gd name="T10" fmla="*/ 93 w 98"/>
                        <a:gd name="T11" fmla="*/ 0 h 20"/>
                        <a:gd name="T12" fmla="*/ 5 w 98"/>
                        <a:gd name="T13" fmla="*/ 0 h 20"/>
                        <a:gd name="T14" fmla="*/ 0 w 98"/>
                        <a:gd name="T15" fmla="*/ 4 h 20"/>
                        <a:gd name="T16" fmla="*/ 0 w 98"/>
                        <a:gd name="T17" fmla="*/ 15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8" h="20">
                          <a:moveTo>
                            <a:pt x="0" y="15"/>
                          </a:moveTo>
                          <a:cubicBezTo>
                            <a:pt x="0" y="18"/>
                            <a:pt x="2" y="20"/>
                            <a:pt x="5" y="20"/>
                          </a:cubicBezTo>
                          <a:cubicBezTo>
                            <a:pt x="93" y="20"/>
                            <a:pt x="93" y="20"/>
                            <a:pt x="93" y="20"/>
                          </a:cubicBezTo>
                          <a:cubicBezTo>
                            <a:pt x="96" y="20"/>
                            <a:pt x="98" y="18"/>
                            <a:pt x="98" y="15"/>
                          </a:cubicBezTo>
                          <a:cubicBezTo>
                            <a:pt x="98" y="4"/>
                            <a:pt x="98" y="4"/>
                            <a:pt x="98" y="4"/>
                          </a:cubicBezTo>
                          <a:cubicBezTo>
                            <a:pt x="98" y="2"/>
                            <a:pt x="96" y="0"/>
                            <a:pt x="93" y="0"/>
                          </a:cubicBezTo>
                          <a:cubicBezTo>
                            <a:pt x="5" y="0"/>
                            <a:pt x="5" y="0"/>
                            <a:pt x="5" y="0"/>
                          </a:cubicBezTo>
                          <a:cubicBezTo>
                            <a:pt x="2" y="0"/>
                            <a:pt x="0" y="2"/>
                            <a:pt x="0" y="4"/>
                          </a:cubicBez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8" name="Freeform 732"/>
                    <p:cNvSpPr>
                      <a:spLocks/>
                    </p:cNvSpPr>
                    <p:nvPr/>
                  </p:nvSpPr>
                  <p:spPr bwMode="auto">
                    <a:xfrm>
                      <a:off x="7232111" y="6168644"/>
                      <a:ext cx="79312" cy="41162"/>
                    </a:xfrm>
                    <a:custGeom>
                      <a:avLst/>
                      <a:gdLst>
                        <a:gd name="T0" fmla="*/ 28 w 64"/>
                        <a:gd name="T1" fmla="*/ 0 h 33"/>
                        <a:gd name="T2" fmla="*/ 64 w 64"/>
                        <a:gd name="T3" fmla="*/ 33 h 33"/>
                        <a:gd name="T4" fmla="*/ 28 w 64"/>
                        <a:gd name="T5" fmla="*/ 33 h 33"/>
                        <a:gd name="T6" fmla="*/ 0 w 64"/>
                        <a:gd name="T7" fmla="*/ 33 h 33"/>
                        <a:gd name="T8" fmla="*/ 0 w 64"/>
                        <a:gd name="T9" fmla="*/ 0 h 33"/>
                        <a:gd name="T10" fmla="*/ 28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28" y="0"/>
                          </a:moveTo>
                          <a:cubicBezTo>
                            <a:pt x="47" y="0"/>
                            <a:pt x="63" y="14"/>
                            <a:pt x="64" y="33"/>
                          </a:cubicBezTo>
                          <a:cubicBezTo>
                            <a:pt x="28" y="33"/>
                            <a:pt x="28" y="33"/>
                            <a:pt x="28" y="33"/>
                          </a:cubicBezTo>
                          <a:cubicBezTo>
                            <a:pt x="0" y="33"/>
                            <a:pt x="0" y="33"/>
                            <a:pt x="0" y="3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563F2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9" name="Freeform 733"/>
                    <p:cNvSpPr>
                      <a:spLocks/>
                    </p:cNvSpPr>
                    <p:nvPr/>
                  </p:nvSpPr>
                  <p:spPr bwMode="auto">
                    <a:xfrm>
                      <a:off x="7133222" y="5884525"/>
                      <a:ext cx="133526" cy="288134"/>
                    </a:xfrm>
                    <a:custGeom>
                      <a:avLst/>
                      <a:gdLst>
                        <a:gd name="T0" fmla="*/ 0 w 266"/>
                        <a:gd name="T1" fmla="*/ 0 h 574"/>
                        <a:gd name="T2" fmla="*/ 0 w 266"/>
                        <a:gd name="T3" fmla="*/ 0 h 574"/>
                        <a:gd name="T4" fmla="*/ 69 w 266"/>
                        <a:gd name="T5" fmla="*/ 0 h 574"/>
                        <a:gd name="T6" fmla="*/ 197 w 266"/>
                        <a:gd name="T7" fmla="*/ 0 h 574"/>
                        <a:gd name="T8" fmla="*/ 266 w 266"/>
                        <a:gd name="T9" fmla="*/ 0 h 574"/>
                        <a:gd name="T10" fmla="*/ 266 w 266"/>
                        <a:gd name="T11" fmla="*/ 86 h 574"/>
                        <a:gd name="T12" fmla="*/ 266 w 266"/>
                        <a:gd name="T13" fmla="*/ 574 h 574"/>
                        <a:gd name="T14" fmla="*/ 197 w 266"/>
                        <a:gd name="T15" fmla="*/ 574 h 574"/>
                        <a:gd name="T16" fmla="*/ 197 w 266"/>
                        <a:gd name="T17" fmla="*/ 86 h 574"/>
                        <a:gd name="T18" fmla="*/ 69 w 266"/>
                        <a:gd name="T19" fmla="*/ 86 h 574"/>
                        <a:gd name="T20" fmla="*/ 69 w 266"/>
                        <a:gd name="T21" fmla="*/ 574 h 574"/>
                        <a:gd name="T22" fmla="*/ 0 w 266"/>
                        <a:gd name="T23" fmla="*/ 574 h 574"/>
                        <a:gd name="T24" fmla="*/ 0 w 266"/>
                        <a:gd name="T25" fmla="*/ 86 h 574"/>
                        <a:gd name="T26" fmla="*/ 0 w 266"/>
                        <a:gd name="T27" fmla="*/ 86 h 574"/>
                        <a:gd name="T28" fmla="*/ 0 w 266"/>
                        <a:gd name="T29" fmla="*/ 0 h 5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66" h="574">
                          <a:moveTo>
                            <a:pt x="0" y="0"/>
                          </a:moveTo>
                          <a:lnTo>
                            <a:pt x="0" y="0"/>
                          </a:lnTo>
                          <a:lnTo>
                            <a:pt x="69" y="0"/>
                          </a:lnTo>
                          <a:lnTo>
                            <a:pt x="197" y="0"/>
                          </a:lnTo>
                          <a:lnTo>
                            <a:pt x="266" y="0"/>
                          </a:lnTo>
                          <a:lnTo>
                            <a:pt x="266" y="86"/>
                          </a:lnTo>
                          <a:lnTo>
                            <a:pt x="266" y="574"/>
                          </a:lnTo>
                          <a:lnTo>
                            <a:pt x="197" y="574"/>
                          </a:lnTo>
                          <a:lnTo>
                            <a:pt x="197" y="86"/>
                          </a:lnTo>
                          <a:lnTo>
                            <a:pt x="69" y="86"/>
                          </a:lnTo>
                          <a:lnTo>
                            <a:pt x="69" y="574"/>
                          </a:lnTo>
                          <a:lnTo>
                            <a:pt x="0" y="574"/>
                          </a:lnTo>
                          <a:lnTo>
                            <a:pt x="0" y="86"/>
                          </a:lnTo>
                          <a:lnTo>
                            <a:pt x="0" y="8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0" name="Freeform 734"/>
                    <p:cNvSpPr>
                      <a:spLocks/>
                    </p:cNvSpPr>
                    <p:nvPr/>
                  </p:nvSpPr>
                  <p:spPr bwMode="auto">
                    <a:xfrm>
                      <a:off x="7133222" y="6168644"/>
                      <a:ext cx="79312" cy="41162"/>
                    </a:xfrm>
                    <a:custGeom>
                      <a:avLst/>
                      <a:gdLst>
                        <a:gd name="T0" fmla="*/ 28 w 64"/>
                        <a:gd name="T1" fmla="*/ 0 h 33"/>
                        <a:gd name="T2" fmla="*/ 64 w 64"/>
                        <a:gd name="T3" fmla="*/ 33 h 33"/>
                        <a:gd name="T4" fmla="*/ 28 w 64"/>
                        <a:gd name="T5" fmla="*/ 33 h 33"/>
                        <a:gd name="T6" fmla="*/ 0 w 64"/>
                        <a:gd name="T7" fmla="*/ 33 h 33"/>
                        <a:gd name="T8" fmla="*/ 0 w 64"/>
                        <a:gd name="T9" fmla="*/ 0 h 33"/>
                        <a:gd name="T10" fmla="*/ 28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28" y="0"/>
                          </a:moveTo>
                          <a:cubicBezTo>
                            <a:pt x="47" y="0"/>
                            <a:pt x="63" y="14"/>
                            <a:pt x="64" y="33"/>
                          </a:cubicBezTo>
                          <a:cubicBezTo>
                            <a:pt x="28" y="33"/>
                            <a:pt x="28" y="33"/>
                            <a:pt x="28" y="33"/>
                          </a:cubicBezTo>
                          <a:cubicBezTo>
                            <a:pt x="0" y="33"/>
                            <a:pt x="0" y="33"/>
                            <a:pt x="0" y="3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563F2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1" name="Freeform 735"/>
                    <p:cNvSpPr>
                      <a:spLocks/>
                    </p:cNvSpPr>
                    <p:nvPr/>
                  </p:nvSpPr>
                  <p:spPr bwMode="auto">
                    <a:xfrm>
                      <a:off x="7085032" y="5645584"/>
                      <a:ext cx="229905" cy="238941"/>
                    </a:xfrm>
                    <a:custGeom>
                      <a:avLst/>
                      <a:gdLst>
                        <a:gd name="T0" fmla="*/ 39 w 186"/>
                        <a:gd name="T1" fmla="*/ 0 h 193"/>
                        <a:gd name="T2" fmla="*/ 147 w 186"/>
                        <a:gd name="T3" fmla="*/ 0 h 193"/>
                        <a:gd name="T4" fmla="*/ 186 w 186"/>
                        <a:gd name="T5" fmla="*/ 39 h 193"/>
                        <a:gd name="T6" fmla="*/ 186 w 186"/>
                        <a:gd name="T7" fmla="*/ 73 h 193"/>
                        <a:gd name="T8" fmla="*/ 147 w 186"/>
                        <a:gd name="T9" fmla="*/ 73 h 193"/>
                        <a:gd name="T10" fmla="*/ 147 w 186"/>
                        <a:gd name="T11" fmla="*/ 193 h 193"/>
                        <a:gd name="T12" fmla="*/ 39 w 186"/>
                        <a:gd name="T13" fmla="*/ 193 h 193"/>
                        <a:gd name="T14" fmla="*/ 39 w 186"/>
                        <a:gd name="T15" fmla="*/ 73 h 193"/>
                        <a:gd name="T16" fmla="*/ 0 w 186"/>
                        <a:gd name="T17" fmla="*/ 73 h 193"/>
                        <a:gd name="T18" fmla="*/ 0 w 186"/>
                        <a:gd name="T19" fmla="*/ 39 h 193"/>
                        <a:gd name="T20" fmla="*/ 39 w 186"/>
                        <a:gd name="T21" fmla="*/ 0 h 1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86" h="193">
                          <a:moveTo>
                            <a:pt x="39" y="0"/>
                          </a:moveTo>
                          <a:cubicBezTo>
                            <a:pt x="147" y="0"/>
                            <a:pt x="147" y="0"/>
                            <a:pt x="147" y="0"/>
                          </a:cubicBezTo>
                          <a:cubicBezTo>
                            <a:pt x="169" y="0"/>
                            <a:pt x="186" y="17"/>
                            <a:pt x="186" y="39"/>
                          </a:cubicBezTo>
                          <a:cubicBezTo>
                            <a:pt x="186" y="73"/>
                            <a:pt x="186" y="73"/>
                            <a:pt x="186" y="73"/>
                          </a:cubicBezTo>
                          <a:cubicBezTo>
                            <a:pt x="147" y="73"/>
                            <a:pt x="147" y="73"/>
                            <a:pt x="147" y="73"/>
                          </a:cubicBezTo>
                          <a:cubicBezTo>
                            <a:pt x="147" y="193"/>
                            <a:pt x="147" y="193"/>
                            <a:pt x="147" y="193"/>
                          </a:cubicBezTo>
                          <a:cubicBezTo>
                            <a:pt x="39" y="193"/>
                            <a:pt x="39" y="193"/>
                            <a:pt x="39" y="193"/>
                          </a:cubicBezTo>
                          <a:cubicBezTo>
                            <a:pt x="39" y="73"/>
                            <a:pt x="39" y="73"/>
                            <a:pt x="39" y="73"/>
                          </a:cubicBezTo>
                          <a:cubicBezTo>
                            <a:pt x="0" y="73"/>
                            <a:pt x="0" y="73"/>
                            <a:pt x="0" y="73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0" y="17"/>
                            <a:pt x="17" y="0"/>
                            <a:pt x="39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2" name="Freeform 736"/>
                    <p:cNvSpPr>
                      <a:spLocks/>
                    </p:cNvSpPr>
                    <p:nvPr/>
                  </p:nvSpPr>
                  <p:spPr bwMode="auto">
                    <a:xfrm>
                      <a:off x="7272771" y="5735940"/>
                      <a:ext cx="81822" cy="122482"/>
                    </a:xfrm>
                    <a:custGeom>
                      <a:avLst/>
                      <a:gdLst>
                        <a:gd name="T0" fmla="*/ 25 w 66"/>
                        <a:gd name="T1" fmla="*/ 99 h 99"/>
                        <a:gd name="T2" fmla="*/ 66 w 66"/>
                        <a:gd name="T3" fmla="*/ 99 h 99"/>
                        <a:gd name="T4" fmla="*/ 66 w 66"/>
                        <a:gd name="T5" fmla="*/ 70 h 99"/>
                        <a:gd name="T6" fmla="*/ 29 w 66"/>
                        <a:gd name="T7" fmla="*/ 70 h 99"/>
                        <a:gd name="T8" fmla="*/ 29 w 66"/>
                        <a:gd name="T9" fmla="*/ 0 h 99"/>
                        <a:gd name="T10" fmla="*/ 0 w 66"/>
                        <a:gd name="T11" fmla="*/ 0 h 99"/>
                        <a:gd name="T12" fmla="*/ 0 w 66"/>
                        <a:gd name="T13" fmla="*/ 74 h 99"/>
                        <a:gd name="T14" fmla="*/ 25 w 66"/>
                        <a:gd name="T15" fmla="*/ 99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6" h="99">
                          <a:moveTo>
                            <a:pt x="25" y="99"/>
                          </a:moveTo>
                          <a:cubicBezTo>
                            <a:pt x="66" y="99"/>
                            <a:pt x="66" y="99"/>
                            <a:pt x="66" y="99"/>
                          </a:cubicBezTo>
                          <a:cubicBezTo>
                            <a:pt x="66" y="70"/>
                            <a:pt x="66" y="70"/>
                            <a:pt x="66" y="70"/>
                          </a:cubicBezTo>
                          <a:cubicBezTo>
                            <a:pt x="29" y="70"/>
                            <a:pt x="29" y="70"/>
                            <a:pt x="29" y="7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74"/>
                            <a:pt x="0" y="74"/>
                            <a:pt x="0" y="74"/>
                          </a:cubicBezTo>
                          <a:cubicBezTo>
                            <a:pt x="0" y="88"/>
                            <a:pt x="11" y="99"/>
                            <a:pt x="25" y="99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3" name="Rectangle 73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91056" y="5735940"/>
                      <a:ext cx="36142" cy="212838"/>
                    </a:xfrm>
                    <a:prstGeom prst="rect">
                      <a:avLst/>
                    </a:pr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4" name="Freeform 738"/>
                    <p:cNvSpPr>
                      <a:spLocks/>
                    </p:cNvSpPr>
                    <p:nvPr/>
                  </p:nvSpPr>
                  <p:spPr bwMode="auto">
                    <a:xfrm>
                      <a:off x="7090052" y="5912636"/>
                      <a:ext cx="37146" cy="71783"/>
                    </a:xfrm>
                    <a:custGeom>
                      <a:avLst/>
                      <a:gdLst>
                        <a:gd name="T0" fmla="*/ 30 w 30"/>
                        <a:gd name="T1" fmla="*/ 0 h 58"/>
                        <a:gd name="T2" fmla="*/ 30 w 30"/>
                        <a:gd name="T3" fmla="*/ 58 h 58"/>
                        <a:gd name="T4" fmla="*/ 0 w 30"/>
                        <a:gd name="T5" fmla="*/ 29 h 58"/>
                        <a:gd name="T6" fmla="*/ 30 w 30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" h="58">
                          <a:moveTo>
                            <a:pt x="30" y="0"/>
                          </a:moveTo>
                          <a:cubicBezTo>
                            <a:pt x="30" y="58"/>
                            <a:pt x="30" y="58"/>
                            <a:pt x="30" y="58"/>
                          </a:cubicBezTo>
                          <a:cubicBezTo>
                            <a:pt x="14" y="58"/>
                            <a:pt x="0" y="45"/>
                            <a:pt x="0" y="29"/>
                          </a:cubicBezTo>
                          <a:cubicBezTo>
                            <a:pt x="0" y="13"/>
                            <a:pt x="14" y="0"/>
                            <a:pt x="30" y="0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5" name="Freeform 739"/>
                    <p:cNvSpPr>
                      <a:spLocks/>
                    </p:cNvSpPr>
                    <p:nvPr/>
                  </p:nvSpPr>
                  <p:spPr bwMode="auto">
                    <a:xfrm>
                      <a:off x="7318451" y="5822782"/>
                      <a:ext cx="73289" cy="35640"/>
                    </a:xfrm>
                    <a:custGeom>
                      <a:avLst/>
                      <a:gdLst>
                        <a:gd name="T0" fmla="*/ 0 w 59"/>
                        <a:gd name="T1" fmla="*/ 0 h 29"/>
                        <a:gd name="T2" fmla="*/ 59 w 59"/>
                        <a:gd name="T3" fmla="*/ 0 h 29"/>
                        <a:gd name="T4" fmla="*/ 29 w 59"/>
                        <a:gd name="T5" fmla="*/ 29 h 29"/>
                        <a:gd name="T6" fmla="*/ 0 w 59"/>
                        <a:gd name="T7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59" h="29">
                          <a:moveTo>
                            <a:pt x="0" y="0"/>
                          </a:moveTo>
                          <a:cubicBezTo>
                            <a:pt x="59" y="0"/>
                            <a:pt x="59" y="0"/>
                            <a:pt x="59" y="0"/>
                          </a:cubicBezTo>
                          <a:cubicBezTo>
                            <a:pt x="59" y="16"/>
                            <a:pt x="45" y="29"/>
                            <a:pt x="29" y="29"/>
                          </a:cubicBezTo>
                          <a:cubicBezTo>
                            <a:pt x="13" y="29"/>
                            <a:pt x="0" y="16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6" name="Rectangle 74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88834" y="5805213"/>
                      <a:ext cx="158624" cy="17569"/>
                    </a:xfrm>
                    <a:prstGeom prst="rect">
                      <a:avLst/>
                    </a:pr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7" name="Freeform 741"/>
                    <p:cNvSpPr>
                      <a:spLocks/>
                    </p:cNvSpPr>
                    <p:nvPr/>
                  </p:nvSpPr>
                  <p:spPr bwMode="auto">
                    <a:xfrm>
                      <a:off x="7324977" y="5724896"/>
                      <a:ext cx="165652" cy="80316"/>
                    </a:xfrm>
                    <a:custGeom>
                      <a:avLst/>
                      <a:gdLst>
                        <a:gd name="T0" fmla="*/ 86 w 330"/>
                        <a:gd name="T1" fmla="*/ 0 h 160"/>
                        <a:gd name="T2" fmla="*/ 330 w 330"/>
                        <a:gd name="T3" fmla="*/ 0 h 160"/>
                        <a:gd name="T4" fmla="*/ 244 w 330"/>
                        <a:gd name="T5" fmla="*/ 160 h 160"/>
                        <a:gd name="T6" fmla="*/ 0 w 330"/>
                        <a:gd name="T7" fmla="*/ 160 h 160"/>
                        <a:gd name="T8" fmla="*/ 86 w 330"/>
                        <a:gd name="T9" fmla="*/ 0 h 1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0" h="160">
                          <a:moveTo>
                            <a:pt x="86" y="0"/>
                          </a:moveTo>
                          <a:lnTo>
                            <a:pt x="330" y="0"/>
                          </a:lnTo>
                          <a:lnTo>
                            <a:pt x="244" y="160"/>
                          </a:lnTo>
                          <a:lnTo>
                            <a:pt x="0" y="160"/>
                          </a:lnTo>
                          <a:lnTo>
                            <a:pt x="86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8" name="Rectangle 7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88834" y="5805213"/>
                      <a:ext cx="36142" cy="17569"/>
                    </a:xfrm>
                    <a:prstGeom prst="rect">
                      <a:avLst/>
                    </a:pr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9" name="Freeform 743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70277"/>
                    </a:xfrm>
                    <a:custGeom>
                      <a:avLst/>
                      <a:gdLst>
                        <a:gd name="T0" fmla="*/ 42 w 84"/>
                        <a:gd name="T1" fmla="*/ 140 h 140"/>
                        <a:gd name="T2" fmla="*/ 84 w 84"/>
                        <a:gd name="T3" fmla="*/ 98 h 140"/>
                        <a:gd name="T4" fmla="*/ 84 w 84"/>
                        <a:gd name="T5" fmla="*/ 0 h 140"/>
                        <a:gd name="T6" fmla="*/ 0 w 84"/>
                        <a:gd name="T7" fmla="*/ 0 h 140"/>
                        <a:gd name="T8" fmla="*/ 0 w 84"/>
                        <a:gd name="T9" fmla="*/ 98 h 140"/>
                        <a:gd name="T10" fmla="*/ 42 w 84"/>
                        <a:gd name="T11" fmla="*/ 140 h 1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140">
                          <a:moveTo>
                            <a:pt x="42" y="140"/>
                          </a:moveTo>
                          <a:lnTo>
                            <a:pt x="84" y="98"/>
                          </a:lnTo>
                          <a:lnTo>
                            <a:pt x="84" y="0"/>
                          </a:lnTo>
                          <a:lnTo>
                            <a:pt x="0" y="0"/>
                          </a:lnTo>
                          <a:lnTo>
                            <a:pt x="0" y="98"/>
                          </a:lnTo>
                          <a:lnTo>
                            <a:pt x="42" y="140"/>
                          </a:ln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0" name="Freeform 744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37146"/>
                    </a:xfrm>
                    <a:custGeom>
                      <a:avLst/>
                      <a:gdLst>
                        <a:gd name="T0" fmla="*/ 34 w 34"/>
                        <a:gd name="T1" fmla="*/ 28 h 30"/>
                        <a:gd name="T2" fmla="*/ 17 w 34"/>
                        <a:gd name="T3" fmla="*/ 30 h 30"/>
                        <a:gd name="T4" fmla="*/ 0 w 34"/>
                        <a:gd name="T5" fmla="*/ 28 h 30"/>
                        <a:gd name="T6" fmla="*/ 0 w 34"/>
                        <a:gd name="T7" fmla="*/ 0 h 30"/>
                        <a:gd name="T8" fmla="*/ 34 w 34"/>
                        <a:gd name="T9" fmla="*/ 0 h 30"/>
                        <a:gd name="T10" fmla="*/ 34 w 34"/>
                        <a:gd name="T11" fmla="*/ 28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" h="30">
                          <a:moveTo>
                            <a:pt x="34" y="28"/>
                          </a:moveTo>
                          <a:cubicBezTo>
                            <a:pt x="29" y="29"/>
                            <a:pt x="23" y="30"/>
                            <a:pt x="17" y="30"/>
                          </a:cubicBezTo>
                          <a:cubicBezTo>
                            <a:pt x="11" y="30"/>
                            <a:pt x="5" y="29"/>
                            <a:pt x="0" y="28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lnTo>
                            <a:pt x="34" y="28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1" name="Freeform 745"/>
                    <p:cNvSpPr>
                      <a:spLocks/>
                    </p:cNvSpPr>
                    <p:nvPr/>
                  </p:nvSpPr>
                  <p:spPr bwMode="auto">
                    <a:xfrm>
                      <a:off x="7150289" y="5479932"/>
                      <a:ext cx="99391" cy="68269"/>
                    </a:xfrm>
                    <a:custGeom>
                      <a:avLst/>
                      <a:gdLst>
                        <a:gd name="T0" fmla="*/ 40 w 80"/>
                        <a:gd name="T1" fmla="*/ 0 h 55"/>
                        <a:gd name="T2" fmla="*/ 80 w 80"/>
                        <a:gd name="T3" fmla="*/ 40 h 55"/>
                        <a:gd name="T4" fmla="*/ 80 w 80"/>
                        <a:gd name="T5" fmla="*/ 55 h 55"/>
                        <a:gd name="T6" fmla="*/ 0 w 80"/>
                        <a:gd name="T7" fmla="*/ 55 h 55"/>
                        <a:gd name="T8" fmla="*/ 0 w 80"/>
                        <a:gd name="T9" fmla="*/ 40 h 55"/>
                        <a:gd name="T10" fmla="*/ 40 w 80"/>
                        <a:gd name="T11" fmla="*/ 0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0" h="55">
                          <a:moveTo>
                            <a:pt x="40" y="0"/>
                          </a:moveTo>
                          <a:cubicBezTo>
                            <a:pt x="62" y="0"/>
                            <a:pt x="80" y="18"/>
                            <a:pt x="80" y="40"/>
                          </a:cubicBezTo>
                          <a:cubicBezTo>
                            <a:pt x="80" y="55"/>
                            <a:pt x="80" y="55"/>
                            <a:pt x="80" y="55"/>
                          </a:cubicBezTo>
                          <a:cubicBezTo>
                            <a:pt x="0" y="55"/>
                            <a:pt x="0" y="55"/>
                            <a:pt x="0" y="55"/>
                          </a:cubicBezTo>
                          <a:cubicBezTo>
                            <a:pt x="0" y="40"/>
                            <a:pt x="0" y="40"/>
                            <a:pt x="0" y="40"/>
                          </a:cubicBezTo>
                          <a:cubicBezTo>
                            <a:pt x="0" y="18"/>
                            <a:pt x="18" y="0"/>
                            <a:pt x="4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2" name="Freeform 746"/>
                    <p:cNvSpPr>
                      <a:spLocks/>
                    </p:cNvSpPr>
                    <p:nvPr/>
                  </p:nvSpPr>
                  <p:spPr bwMode="auto">
                    <a:xfrm>
                      <a:off x="7150289" y="5530631"/>
                      <a:ext cx="99391" cy="93870"/>
                    </a:xfrm>
                    <a:custGeom>
                      <a:avLst/>
                      <a:gdLst>
                        <a:gd name="T0" fmla="*/ 80 w 80"/>
                        <a:gd name="T1" fmla="*/ 0 h 76"/>
                        <a:gd name="T2" fmla="*/ 80 w 80"/>
                        <a:gd name="T3" fmla="*/ 63 h 76"/>
                        <a:gd name="T4" fmla="*/ 80 w 80"/>
                        <a:gd name="T5" fmla="*/ 63 h 76"/>
                        <a:gd name="T6" fmla="*/ 40 w 80"/>
                        <a:gd name="T7" fmla="*/ 76 h 76"/>
                        <a:gd name="T8" fmla="*/ 0 w 80"/>
                        <a:gd name="T9" fmla="*/ 63 h 76"/>
                        <a:gd name="T10" fmla="*/ 0 w 80"/>
                        <a:gd name="T11" fmla="*/ 63 h 76"/>
                        <a:gd name="T12" fmla="*/ 0 w 80"/>
                        <a:gd name="T13" fmla="*/ 0 h 76"/>
                        <a:gd name="T14" fmla="*/ 80 w 80"/>
                        <a:gd name="T15" fmla="*/ 0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80" h="76">
                          <a:moveTo>
                            <a:pt x="80" y="0"/>
                          </a:move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69" y="71"/>
                            <a:pt x="55" y="76"/>
                            <a:pt x="40" y="76"/>
                          </a:cubicBezTo>
                          <a:cubicBezTo>
                            <a:pt x="25" y="76"/>
                            <a:pt x="11" y="71"/>
                            <a:pt x="0" y="63"/>
                          </a:cubicBez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80" y="0"/>
                          </a:ln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3" name="Rectangle 7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91056" y="5735940"/>
                      <a:ext cx="36142" cy="10040"/>
                    </a:xfrm>
                    <a:prstGeom prst="rect">
                      <a:avLst/>
                    </a:pr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4" name="Rectangle 7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72771" y="5735940"/>
                      <a:ext cx="36142" cy="10040"/>
                    </a:xfrm>
                    <a:prstGeom prst="rect">
                      <a:avLst/>
                    </a:pr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5" name="Oval 74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164344" y="5561754"/>
                      <a:ext cx="8534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6" name="Oval 7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28597" y="5561754"/>
                      <a:ext cx="8534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7" name="Freeform 751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16063"/>
                    </a:xfrm>
                    <a:custGeom>
                      <a:avLst/>
                      <a:gdLst>
                        <a:gd name="T0" fmla="*/ 0 w 34"/>
                        <a:gd name="T1" fmla="*/ 0 h 13"/>
                        <a:gd name="T2" fmla="*/ 17 w 34"/>
                        <a:gd name="T3" fmla="*/ 13 h 13"/>
                        <a:gd name="T4" fmla="*/ 34 w 34"/>
                        <a:gd name="T5" fmla="*/ 0 h 13"/>
                        <a:gd name="T6" fmla="*/ 0 w 34"/>
                        <a:gd name="T7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4" h="13">
                          <a:moveTo>
                            <a:pt x="0" y="0"/>
                          </a:moveTo>
                          <a:cubicBezTo>
                            <a:pt x="2" y="7"/>
                            <a:pt x="9" y="13"/>
                            <a:pt x="17" y="13"/>
                          </a:cubicBezTo>
                          <a:cubicBezTo>
                            <a:pt x="25" y="13"/>
                            <a:pt x="31" y="7"/>
                            <a:pt x="34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8" name="Freeform 752"/>
                    <p:cNvSpPr>
                      <a:spLocks/>
                    </p:cNvSpPr>
                    <p:nvPr/>
                  </p:nvSpPr>
                  <p:spPr bwMode="auto">
                    <a:xfrm>
                      <a:off x="7192455" y="5582837"/>
                      <a:ext cx="15059" cy="4518"/>
                    </a:xfrm>
                    <a:custGeom>
                      <a:avLst/>
                      <a:gdLst>
                        <a:gd name="T0" fmla="*/ 0 w 12"/>
                        <a:gd name="T1" fmla="*/ 0 h 4"/>
                        <a:gd name="T2" fmla="*/ 6 w 12"/>
                        <a:gd name="T3" fmla="*/ 4 h 4"/>
                        <a:gd name="T4" fmla="*/ 12 w 12"/>
                        <a:gd name="T5" fmla="*/ 0 h 4"/>
                        <a:gd name="T6" fmla="*/ 0 w 12"/>
                        <a:gd name="T7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0"/>
                          </a:moveTo>
                          <a:cubicBezTo>
                            <a:pt x="1" y="3"/>
                            <a:pt x="3" y="4"/>
                            <a:pt x="6" y="4"/>
                          </a:cubicBezTo>
                          <a:cubicBezTo>
                            <a:pt x="9" y="4"/>
                            <a:pt x="11" y="3"/>
                            <a:pt x="12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6" name="Group 495"/>
                <p:cNvGrpSpPr/>
                <p:nvPr/>
              </p:nvGrpSpPr>
              <p:grpSpPr>
                <a:xfrm>
                  <a:off x="11062064" y="8017581"/>
                  <a:ext cx="1018143" cy="997902"/>
                  <a:chOff x="11137107" y="2776123"/>
                  <a:chExt cx="835189" cy="827511"/>
                </a:xfrm>
              </p:grpSpPr>
              <p:sp>
                <p:nvSpPr>
                  <p:cNvPr id="522" name="Rectangle 521"/>
                  <p:cNvSpPr/>
                  <p:nvPr/>
                </p:nvSpPr>
                <p:spPr>
                  <a:xfrm>
                    <a:off x="11137110" y="2776123"/>
                    <a:ext cx="835186" cy="821690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523" name="Group 522"/>
                  <p:cNvGrpSpPr/>
                  <p:nvPr/>
                </p:nvGrpSpPr>
                <p:grpSpPr>
                  <a:xfrm>
                    <a:off x="11137107" y="3264427"/>
                    <a:ext cx="824193" cy="339207"/>
                    <a:chOff x="10027990" y="4738729"/>
                    <a:chExt cx="2162197" cy="867217"/>
                  </a:xfrm>
                </p:grpSpPr>
                <p:sp>
                  <p:nvSpPr>
                    <p:cNvPr id="524" name="Freeform 5"/>
                    <p:cNvSpPr>
                      <a:spLocks/>
                    </p:cNvSpPr>
                    <p:nvPr/>
                  </p:nvSpPr>
                  <p:spPr bwMode="auto">
                    <a:xfrm>
                      <a:off x="10428779" y="5276639"/>
                      <a:ext cx="30471" cy="119535"/>
                    </a:xfrm>
                    <a:custGeom>
                      <a:avLst/>
                      <a:gdLst>
                        <a:gd name="T0" fmla="*/ 26 w 26"/>
                        <a:gd name="T1" fmla="*/ 102 h 102"/>
                        <a:gd name="T2" fmla="*/ 26 w 26"/>
                        <a:gd name="T3" fmla="*/ 102 h 102"/>
                        <a:gd name="T4" fmla="*/ 0 w 26"/>
                        <a:gd name="T5" fmla="*/ 102 h 102"/>
                        <a:gd name="T6" fmla="*/ 0 w 26"/>
                        <a:gd name="T7" fmla="*/ 0 h 102"/>
                        <a:gd name="T8" fmla="*/ 26 w 26"/>
                        <a:gd name="T9" fmla="*/ 0 h 102"/>
                        <a:gd name="T10" fmla="*/ 26 w 26"/>
                        <a:gd name="T11" fmla="*/ 102 h 102"/>
                        <a:gd name="T12" fmla="*/ 26 w 26"/>
                        <a:gd name="T13" fmla="*/ 102 h 102"/>
                        <a:gd name="T14" fmla="*/ 26 w 26"/>
                        <a:gd name="T15" fmla="*/ 102 h 1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6" h="102">
                          <a:moveTo>
                            <a:pt x="26" y="102"/>
                          </a:moveTo>
                          <a:lnTo>
                            <a:pt x="26" y="102"/>
                          </a:lnTo>
                          <a:lnTo>
                            <a:pt x="0" y="102"/>
                          </a:lnTo>
                          <a:lnTo>
                            <a:pt x="0" y="0"/>
                          </a:lnTo>
                          <a:lnTo>
                            <a:pt x="26" y="0"/>
                          </a:lnTo>
                          <a:lnTo>
                            <a:pt x="26" y="102"/>
                          </a:lnTo>
                          <a:lnTo>
                            <a:pt x="26" y="102"/>
                          </a:lnTo>
                          <a:lnTo>
                            <a:pt x="26" y="102"/>
                          </a:lnTo>
                          <a:close/>
                        </a:path>
                      </a:pathLst>
                    </a:cu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5" name="Freeform 6"/>
                    <p:cNvSpPr>
                      <a:spLocks/>
                    </p:cNvSpPr>
                    <p:nvPr/>
                  </p:nvSpPr>
                  <p:spPr bwMode="auto">
                    <a:xfrm>
                      <a:off x="10363152" y="5171166"/>
                      <a:ext cx="158209" cy="159380"/>
                    </a:xfrm>
                    <a:custGeom>
                      <a:avLst/>
                      <a:gdLst>
                        <a:gd name="T0" fmla="*/ 97 w 97"/>
                        <a:gd name="T1" fmla="*/ 49 h 97"/>
                        <a:gd name="T2" fmla="*/ 97 w 97"/>
                        <a:gd name="T3" fmla="*/ 49 h 97"/>
                        <a:gd name="T4" fmla="*/ 49 w 97"/>
                        <a:gd name="T5" fmla="*/ 97 h 97"/>
                        <a:gd name="T6" fmla="*/ 0 w 97"/>
                        <a:gd name="T7" fmla="*/ 49 h 97"/>
                        <a:gd name="T8" fmla="*/ 49 w 97"/>
                        <a:gd name="T9" fmla="*/ 0 h 97"/>
                        <a:gd name="T10" fmla="*/ 97 w 97"/>
                        <a:gd name="T11" fmla="*/ 49 h 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7" h="97">
                          <a:moveTo>
                            <a:pt x="97" y="49"/>
                          </a:moveTo>
                          <a:cubicBezTo>
                            <a:pt x="97" y="49"/>
                            <a:pt x="97" y="49"/>
                            <a:pt x="97" y="49"/>
                          </a:cubicBezTo>
                          <a:cubicBezTo>
                            <a:pt x="97" y="75"/>
                            <a:pt x="75" y="97"/>
                            <a:pt x="49" y="97"/>
                          </a:cubicBezTo>
                          <a:cubicBezTo>
                            <a:pt x="22" y="97"/>
                            <a:pt x="0" y="75"/>
                            <a:pt x="0" y="49"/>
                          </a:cubicBezTo>
                          <a:cubicBezTo>
                            <a:pt x="0" y="22"/>
                            <a:pt x="22" y="0"/>
                            <a:pt x="49" y="0"/>
                          </a:cubicBezTo>
                          <a:cubicBezTo>
                            <a:pt x="75" y="0"/>
                            <a:pt x="97" y="22"/>
                            <a:pt x="97" y="49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6" name="Freeform 7"/>
                    <p:cNvSpPr>
                      <a:spLocks/>
                    </p:cNvSpPr>
                    <p:nvPr/>
                  </p:nvSpPr>
                  <p:spPr bwMode="auto">
                    <a:xfrm>
                      <a:off x="10384248" y="5089132"/>
                      <a:ext cx="116018" cy="117191"/>
                    </a:xfrm>
                    <a:custGeom>
                      <a:avLst/>
                      <a:gdLst>
                        <a:gd name="T0" fmla="*/ 71 w 71"/>
                        <a:gd name="T1" fmla="*/ 36 h 71"/>
                        <a:gd name="T2" fmla="*/ 71 w 71"/>
                        <a:gd name="T3" fmla="*/ 36 h 71"/>
                        <a:gd name="T4" fmla="*/ 36 w 71"/>
                        <a:gd name="T5" fmla="*/ 71 h 71"/>
                        <a:gd name="T6" fmla="*/ 0 w 71"/>
                        <a:gd name="T7" fmla="*/ 36 h 71"/>
                        <a:gd name="T8" fmla="*/ 36 w 71"/>
                        <a:gd name="T9" fmla="*/ 0 h 71"/>
                        <a:gd name="T10" fmla="*/ 71 w 71"/>
                        <a:gd name="T11" fmla="*/ 36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1" h="71">
                          <a:moveTo>
                            <a:pt x="71" y="36"/>
                          </a:moveTo>
                          <a:cubicBezTo>
                            <a:pt x="71" y="36"/>
                            <a:pt x="71" y="36"/>
                            <a:pt x="71" y="36"/>
                          </a:cubicBezTo>
                          <a:cubicBezTo>
                            <a:pt x="71" y="55"/>
                            <a:pt x="55" y="71"/>
                            <a:pt x="36" y="71"/>
                          </a:cubicBezTo>
                          <a:cubicBezTo>
                            <a:pt x="16" y="71"/>
                            <a:pt x="0" y="55"/>
                            <a:pt x="0" y="36"/>
                          </a:cubicBezTo>
                          <a:cubicBezTo>
                            <a:pt x="0" y="16"/>
                            <a:pt x="16" y="0"/>
                            <a:pt x="36" y="0"/>
                          </a:cubicBezTo>
                          <a:cubicBezTo>
                            <a:pt x="55" y="0"/>
                            <a:pt x="71" y="16"/>
                            <a:pt x="71" y="36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7" name="Freeform 8"/>
                    <p:cNvSpPr>
                      <a:spLocks/>
                    </p:cNvSpPr>
                    <p:nvPr/>
                  </p:nvSpPr>
                  <p:spPr bwMode="auto">
                    <a:xfrm>
                      <a:off x="10027990" y="5378595"/>
                      <a:ext cx="1093390" cy="227351"/>
                    </a:xfrm>
                    <a:custGeom>
                      <a:avLst/>
                      <a:gdLst>
                        <a:gd name="T0" fmla="*/ 413 w 667"/>
                        <a:gd name="T1" fmla="*/ 7 h 139"/>
                        <a:gd name="T2" fmla="*/ 413 w 667"/>
                        <a:gd name="T3" fmla="*/ 7 h 139"/>
                        <a:gd name="T4" fmla="*/ 405 w 667"/>
                        <a:gd name="T5" fmla="*/ 6 h 139"/>
                        <a:gd name="T6" fmla="*/ 392 w 667"/>
                        <a:gd name="T7" fmla="*/ 22 h 139"/>
                        <a:gd name="T8" fmla="*/ 357 w 667"/>
                        <a:gd name="T9" fmla="*/ 38 h 139"/>
                        <a:gd name="T10" fmla="*/ 330 w 667"/>
                        <a:gd name="T11" fmla="*/ 23 h 139"/>
                        <a:gd name="T12" fmla="*/ 330 w 667"/>
                        <a:gd name="T13" fmla="*/ 0 h 139"/>
                        <a:gd name="T14" fmla="*/ 0 w 667"/>
                        <a:gd name="T15" fmla="*/ 139 h 139"/>
                        <a:gd name="T16" fmla="*/ 236 w 667"/>
                        <a:gd name="T17" fmla="*/ 139 h 139"/>
                        <a:gd name="T18" fmla="*/ 667 w 667"/>
                        <a:gd name="T19" fmla="*/ 139 h 139"/>
                        <a:gd name="T20" fmla="*/ 413 w 667"/>
                        <a:gd name="T21" fmla="*/ 7 h 1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667" h="139">
                          <a:moveTo>
                            <a:pt x="413" y="7"/>
                          </a:moveTo>
                          <a:cubicBezTo>
                            <a:pt x="413" y="7"/>
                            <a:pt x="413" y="7"/>
                            <a:pt x="413" y="7"/>
                          </a:cubicBezTo>
                          <a:cubicBezTo>
                            <a:pt x="410" y="6"/>
                            <a:pt x="408" y="6"/>
                            <a:pt x="405" y="6"/>
                          </a:cubicBezTo>
                          <a:cubicBezTo>
                            <a:pt x="401" y="12"/>
                            <a:pt x="396" y="18"/>
                            <a:pt x="392" y="22"/>
                          </a:cubicBezTo>
                          <a:cubicBezTo>
                            <a:pt x="381" y="33"/>
                            <a:pt x="371" y="38"/>
                            <a:pt x="357" y="38"/>
                          </a:cubicBezTo>
                          <a:cubicBezTo>
                            <a:pt x="344" y="38"/>
                            <a:pt x="334" y="33"/>
                            <a:pt x="330" y="23"/>
                          </a:cubicBezTo>
                          <a:cubicBezTo>
                            <a:pt x="327" y="17"/>
                            <a:pt x="327" y="9"/>
                            <a:pt x="330" y="0"/>
                          </a:cubicBezTo>
                          <a:cubicBezTo>
                            <a:pt x="210" y="1"/>
                            <a:pt x="92" y="47"/>
                            <a:pt x="0" y="139"/>
                          </a:cubicBezTo>
                          <a:cubicBezTo>
                            <a:pt x="236" y="139"/>
                            <a:pt x="236" y="139"/>
                            <a:pt x="236" y="139"/>
                          </a:cubicBezTo>
                          <a:cubicBezTo>
                            <a:pt x="667" y="139"/>
                            <a:pt x="667" y="139"/>
                            <a:pt x="667" y="139"/>
                          </a:cubicBezTo>
                          <a:cubicBezTo>
                            <a:pt x="595" y="66"/>
                            <a:pt x="506" y="23"/>
                            <a:pt x="413" y="7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8" name="Freeform 9"/>
                    <p:cNvSpPr>
                      <a:spLocks/>
                    </p:cNvSpPr>
                    <p:nvPr/>
                  </p:nvSpPr>
                  <p:spPr bwMode="auto">
                    <a:xfrm>
                      <a:off x="10594022" y="5379768"/>
                      <a:ext cx="69141" cy="36331"/>
                    </a:xfrm>
                    <a:custGeom>
                      <a:avLst/>
                      <a:gdLst>
                        <a:gd name="T0" fmla="*/ 16 w 42"/>
                        <a:gd name="T1" fmla="*/ 22 h 22"/>
                        <a:gd name="T2" fmla="*/ 16 w 42"/>
                        <a:gd name="T3" fmla="*/ 22 h 22"/>
                        <a:gd name="T4" fmla="*/ 42 w 42"/>
                        <a:gd name="T5" fmla="*/ 2 h 22"/>
                        <a:gd name="T6" fmla="*/ 5 w 42"/>
                        <a:gd name="T7" fmla="*/ 0 h 22"/>
                        <a:gd name="T8" fmla="*/ 16 w 42"/>
                        <a:gd name="T9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22">
                          <a:moveTo>
                            <a:pt x="16" y="22"/>
                          </a:moveTo>
                          <a:cubicBezTo>
                            <a:pt x="16" y="22"/>
                            <a:pt x="16" y="22"/>
                            <a:pt x="16" y="22"/>
                          </a:cubicBezTo>
                          <a:cubicBezTo>
                            <a:pt x="26" y="22"/>
                            <a:pt x="32" y="15"/>
                            <a:pt x="42" y="2"/>
                          </a:cubicBezTo>
                          <a:cubicBezTo>
                            <a:pt x="30" y="1"/>
                            <a:pt x="18" y="0"/>
                            <a:pt x="5" y="0"/>
                          </a:cubicBezTo>
                          <a:cubicBezTo>
                            <a:pt x="0" y="14"/>
                            <a:pt x="7" y="22"/>
                            <a:pt x="16" y="22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9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10564725" y="5378595"/>
                      <a:ext cx="127738" cy="62111"/>
                    </a:xfrm>
                    <a:custGeom>
                      <a:avLst/>
                      <a:gdLst>
                        <a:gd name="T0" fmla="*/ 3 w 78"/>
                        <a:gd name="T1" fmla="*/ 23 h 38"/>
                        <a:gd name="T2" fmla="*/ 3 w 78"/>
                        <a:gd name="T3" fmla="*/ 23 h 38"/>
                        <a:gd name="T4" fmla="*/ 30 w 78"/>
                        <a:gd name="T5" fmla="*/ 38 h 38"/>
                        <a:gd name="T6" fmla="*/ 65 w 78"/>
                        <a:gd name="T7" fmla="*/ 22 h 38"/>
                        <a:gd name="T8" fmla="*/ 78 w 78"/>
                        <a:gd name="T9" fmla="*/ 6 h 38"/>
                        <a:gd name="T10" fmla="*/ 60 w 78"/>
                        <a:gd name="T11" fmla="*/ 3 h 38"/>
                        <a:gd name="T12" fmla="*/ 34 w 78"/>
                        <a:gd name="T13" fmla="*/ 23 h 38"/>
                        <a:gd name="T14" fmla="*/ 23 w 78"/>
                        <a:gd name="T15" fmla="*/ 1 h 38"/>
                        <a:gd name="T16" fmla="*/ 3 w 78"/>
                        <a:gd name="T17" fmla="*/ 0 h 38"/>
                        <a:gd name="T18" fmla="*/ 3 w 78"/>
                        <a:gd name="T19" fmla="*/ 23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8" h="38">
                          <a:moveTo>
                            <a:pt x="3" y="23"/>
                          </a:moveTo>
                          <a:cubicBezTo>
                            <a:pt x="3" y="23"/>
                            <a:pt x="3" y="23"/>
                            <a:pt x="3" y="23"/>
                          </a:cubicBezTo>
                          <a:cubicBezTo>
                            <a:pt x="7" y="33"/>
                            <a:pt x="17" y="38"/>
                            <a:pt x="30" y="38"/>
                          </a:cubicBezTo>
                          <a:cubicBezTo>
                            <a:pt x="44" y="38"/>
                            <a:pt x="54" y="33"/>
                            <a:pt x="65" y="22"/>
                          </a:cubicBezTo>
                          <a:cubicBezTo>
                            <a:pt x="69" y="18"/>
                            <a:pt x="74" y="12"/>
                            <a:pt x="78" y="6"/>
                          </a:cubicBezTo>
                          <a:cubicBezTo>
                            <a:pt x="72" y="5"/>
                            <a:pt x="66" y="4"/>
                            <a:pt x="60" y="3"/>
                          </a:cubicBezTo>
                          <a:cubicBezTo>
                            <a:pt x="50" y="16"/>
                            <a:pt x="44" y="23"/>
                            <a:pt x="34" y="23"/>
                          </a:cubicBezTo>
                          <a:cubicBezTo>
                            <a:pt x="25" y="23"/>
                            <a:pt x="18" y="15"/>
                            <a:pt x="23" y="1"/>
                          </a:cubicBezTo>
                          <a:cubicBezTo>
                            <a:pt x="16" y="0"/>
                            <a:pt x="10" y="0"/>
                            <a:pt x="3" y="0"/>
                          </a:cubicBezTo>
                          <a:cubicBezTo>
                            <a:pt x="0" y="9"/>
                            <a:pt x="0" y="17"/>
                            <a:pt x="3" y="23"/>
                          </a:cubicBezTo>
                          <a:close/>
                        </a:path>
                      </a:pathLst>
                    </a:custGeom>
                    <a:solidFill>
                      <a:srgbClr val="6E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0" name="Freeform 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543630" y="5222732"/>
                      <a:ext cx="144145" cy="215633"/>
                    </a:xfrm>
                    <a:custGeom>
                      <a:avLst/>
                      <a:gdLst>
                        <a:gd name="T0" fmla="*/ 44 w 88"/>
                        <a:gd name="T1" fmla="*/ 16 h 132"/>
                        <a:gd name="T2" fmla="*/ 44 w 88"/>
                        <a:gd name="T3" fmla="*/ 16 h 132"/>
                        <a:gd name="T4" fmla="*/ 21 w 88"/>
                        <a:gd name="T5" fmla="*/ 67 h 132"/>
                        <a:gd name="T6" fmla="*/ 44 w 88"/>
                        <a:gd name="T7" fmla="*/ 116 h 132"/>
                        <a:gd name="T8" fmla="*/ 66 w 88"/>
                        <a:gd name="T9" fmla="*/ 67 h 132"/>
                        <a:gd name="T10" fmla="*/ 44 w 88"/>
                        <a:gd name="T11" fmla="*/ 16 h 132"/>
                        <a:gd name="T12" fmla="*/ 42 w 88"/>
                        <a:gd name="T13" fmla="*/ 132 h 132"/>
                        <a:gd name="T14" fmla="*/ 42 w 88"/>
                        <a:gd name="T15" fmla="*/ 132 h 132"/>
                        <a:gd name="T16" fmla="*/ 11 w 88"/>
                        <a:gd name="T17" fmla="*/ 116 h 132"/>
                        <a:gd name="T18" fmla="*/ 0 w 88"/>
                        <a:gd name="T19" fmla="*/ 68 h 132"/>
                        <a:gd name="T20" fmla="*/ 11 w 88"/>
                        <a:gd name="T21" fmla="*/ 17 h 132"/>
                        <a:gd name="T22" fmla="*/ 45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2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4" y="16"/>
                          </a:moveTo>
                          <a:cubicBezTo>
                            <a:pt x="44" y="16"/>
                            <a:pt x="44" y="16"/>
                            <a:pt x="44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9" y="116"/>
                            <a:pt x="44" y="116"/>
                          </a:cubicBezTo>
                          <a:cubicBezTo>
                            <a:pt x="59" y="116"/>
                            <a:pt x="66" y="99"/>
                            <a:pt x="66" y="67"/>
                          </a:cubicBezTo>
                          <a:cubicBezTo>
                            <a:pt x="66" y="33"/>
                            <a:pt x="59" y="16"/>
                            <a:pt x="44" y="16"/>
                          </a:cubicBezTo>
                          <a:close/>
                          <a:moveTo>
                            <a:pt x="42" y="132"/>
                          </a:moveTo>
                          <a:cubicBezTo>
                            <a:pt x="42" y="132"/>
                            <a:pt x="42" y="132"/>
                            <a:pt x="42" y="132"/>
                          </a:cubicBezTo>
                          <a:cubicBezTo>
                            <a:pt x="29" y="132"/>
                            <a:pt x="18" y="127"/>
                            <a:pt x="11" y="116"/>
                          </a:cubicBezTo>
                          <a:cubicBezTo>
                            <a:pt x="3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1" y="17"/>
                          </a:cubicBezTo>
                          <a:cubicBezTo>
                            <a:pt x="19" y="5"/>
                            <a:pt x="31" y="0"/>
                            <a:pt x="45" y="0"/>
                          </a:cubicBezTo>
                          <a:cubicBezTo>
                            <a:pt x="73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2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1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10701837" y="5223902"/>
                      <a:ext cx="76173" cy="209771"/>
                    </a:xfrm>
                    <a:custGeom>
                      <a:avLst/>
                      <a:gdLst>
                        <a:gd name="T0" fmla="*/ 46 w 46"/>
                        <a:gd name="T1" fmla="*/ 0 h 128"/>
                        <a:gd name="T2" fmla="*/ 46 w 46"/>
                        <a:gd name="T3" fmla="*/ 0 h 128"/>
                        <a:gd name="T4" fmla="*/ 46 w 46"/>
                        <a:gd name="T5" fmla="*/ 128 h 128"/>
                        <a:gd name="T6" fmla="*/ 26 w 46"/>
                        <a:gd name="T7" fmla="*/ 128 h 128"/>
                        <a:gd name="T8" fmla="*/ 26 w 46"/>
                        <a:gd name="T9" fmla="*/ 25 h 128"/>
                        <a:gd name="T10" fmla="*/ 14 w 46"/>
                        <a:gd name="T11" fmla="*/ 32 h 128"/>
                        <a:gd name="T12" fmla="*/ 0 w 46"/>
                        <a:gd name="T13" fmla="*/ 36 h 128"/>
                        <a:gd name="T14" fmla="*/ 0 w 46"/>
                        <a:gd name="T15" fmla="*/ 19 h 128"/>
                        <a:gd name="T16" fmla="*/ 9 w 46"/>
                        <a:gd name="T17" fmla="*/ 16 h 128"/>
                        <a:gd name="T18" fmla="*/ 19 w 46"/>
                        <a:gd name="T19" fmla="*/ 11 h 128"/>
                        <a:gd name="T20" fmla="*/ 28 w 46"/>
                        <a:gd name="T21" fmla="*/ 6 h 128"/>
                        <a:gd name="T22" fmla="*/ 38 w 46"/>
                        <a:gd name="T23" fmla="*/ 0 h 128"/>
                        <a:gd name="T24" fmla="*/ 46 w 46"/>
                        <a:gd name="T25" fmla="*/ 0 h 128"/>
                        <a:gd name="T26" fmla="*/ 46 w 46"/>
                        <a:gd name="T27" fmla="*/ 0 h 1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46" h="128">
                          <a:moveTo>
                            <a:pt x="46" y="0"/>
                          </a:move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6" y="128"/>
                            <a:pt x="46" y="128"/>
                            <a:pt x="46" y="128"/>
                          </a:cubicBezTo>
                          <a:cubicBezTo>
                            <a:pt x="26" y="128"/>
                            <a:pt x="26" y="128"/>
                            <a:pt x="26" y="128"/>
                          </a:cubicBezTo>
                          <a:cubicBezTo>
                            <a:pt x="26" y="25"/>
                            <a:pt x="26" y="25"/>
                            <a:pt x="26" y="25"/>
                          </a:cubicBezTo>
                          <a:cubicBezTo>
                            <a:pt x="22" y="28"/>
                            <a:pt x="18" y="30"/>
                            <a:pt x="14" y="32"/>
                          </a:cubicBezTo>
                          <a:cubicBezTo>
                            <a:pt x="10" y="33"/>
                            <a:pt x="5" y="35"/>
                            <a:pt x="0" y="36"/>
                          </a:cubicBezTo>
                          <a:cubicBezTo>
                            <a:pt x="0" y="19"/>
                            <a:pt x="0" y="19"/>
                            <a:pt x="0" y="19"/>
                          </a:cubicBezTo>
                          <a:cubicBezTo>
                            <a:pt x="3" y="18"/>
                            <a:pt x="6" y="17"/>
                            <a:pt x="9" y="16"/>
                          </a:cubicBezTo>
                          <a:cubicBezTo>
                            <a:pt x="12" y="14"/>
                            <a:pt x="16" y="13"/>
                            <a:pt x="19" y="11"/>
                          </a:cubicBezTo>
                          <a:cubicBezTo>
                            <a:pt x="22" y="10"/>
                            <a:pt x="25" y="8"/>
                            <a:pt x="28" y="6"/>
                          </a:cubicBezTo>
                          <a:cubicBezTo>
                            <a:pt x="31" y="5"/>
                            <a:pt x="34" y="2"/>
                            <a:pt x="38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2" name="Freeform 1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811997" y="5222732"/>
                      <a:ext cx="142973" cy="215633"/>
                    </a:xfrm>
                    <a:custGeom>
                      <a:avLst/>
                      <a:gdLst>
                        <a:gd name="T0" fmla="*/ 44 w 87"/>
                        <a:gd name="T1" fmla="*/ 16 h 132"/>
                        <a:gd name="T2" fmla="*/ 44 w 87"/>
                        <a:gd name="T3" fmla="*/ 16 h 132"/>
                        <a:gd name="T4" fmla="*/ 21 w 87"/>
                        <a:gd name="T5" fmla="*/ 67 h 132"/>
                        <a:gd name="T6" fmla="*/ 44 w 87"/>
                        <a:gd name="T7" fmla="*/ 116 h 132"/>
                        <a:gd name="T8" fmla="*/ 66 w 87"/>
                        <a:gd name="T9" fmla="*/ 67 h 132"/>
                        <a:gd name="T10" fmla="*/ 44 w 87"/>
                        <a:gd name="T11" fmla="*/ 16 h 132"/>
                        <a:gd name="T12" fmla="*/ 42 w 87"/>
                        <a:gd name="T13" fmla="*/ 132 h 132"/>
                        <a:gd name="T14" fmla="*/ 42 w 87"/>
                        <a:gd name="T15" fmla="*/ 132 h 132"/>
                        <a:gd name="T16" fmla="*/ 11 w 87"/>
                        <a:gd name="T17" fmla="*/ 116 h 132"/>
                        <a:gd name="T18" fmla="*/ 0 w 87"/>
                        <a:gd name="T19" fmla="*/ 68 h 132"/>
                        <a:gd name="T20" fmla="*/ 11 w 87"/>
                        <a:gd name="T21" fmla="*/ 17 h 132"/>
                        <a:gd name="T22" fmla="*/ 45 w 87"/>
                        <a:gd name="T23" fmla="*/ 0 h 132"/>
                        <a:gd name="T24" fmla="*/ 87 w 87"/>
                        <a:gd name="T25" fmla="*/ 65 h 132"/>
                        <a:gd name="T26" fmla="*/ 75 w 87"/>
                        <a:gd name="T27" fmla="*/ 115 h 132"/>
                        <a:gd name="T28" fmla="*/ 42 w 87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7" h="132">
                          <a:moveTo>
                            <a:pt x="44" y="16"/>
                          </a:moveTo>
                          <a:cubicBezTo>
                            <a:pt x="44" y="16"/>
                            <a:pt x="44" y="16"/>
                            <a:pt x="44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8" y="116"/>
                            <a:pt x="44" y="116"/>
                          </a:cubicBezTo>
                          <a:cubicBezTo>
                            <a:pt x="59" y="116"/>
                            <a:pt x="66" y="99"/>
                            <a:pt x="66" y="67"/>
                          </a:cubicBezTo>
                          <a:cubicBezTo>
                            <a:pt x="66" y="33"/>
                            <a:pt x="59" y="16"/>
                            <a:pt x="44" y="16"/>
                          </a:cubicBezTo>
                          <a:close/>
                          <a:moveTo>
                            <a:pt x="42" y="132"/>
                          </a:moveTo>
                          <a:cubicBezTo>
                            <a:pt x="42" y="132"/>
                            <a:pt x="42" y="132"/>
                            <a:pt x="42" y="132"/>
                          </a:cubicBezTo>
                          <a:cubicBezTo>
                            <a:pt x="29" y="132"/>
                            <a:pt x="18" y="127"/>
                            <a:pt x="11" y="116"/>
                          </a:cubicBezTo>
                          <a:cubicBezTo>
                            <a:pt x="3" y="105"/>
                            <a:pt x="0" y="89"/>
                            <a:pt x="0" y="68"/>
                          </a:cubicBezTo>
                          <a:cubicBezTo>
                            <a:pt x="0" y="46"/>
                            <a:pt x="3" y="29"/>
                            <a:pt x="11" y="17"/>
                          </a:cubicBezTo>
                          <a:cubicBezTo>
                            <a:pt x="19" y="5"/>
                            <a:pt x="30" y="0"/>
                            <a:pt x="45" y="0"/>
                          </a:cubicBezTo>
                          <a:cubicBezTo>
                            <a:pt x="73" y="0"/>
                            <a:pt x="87" y="21"/>
                            <a:pt x="87" y="65"/>
                          </a:cubicBezTo>
                          <a:cubicBezTo>
                            <a:pt x="87" y="87"/>
                            <a:pt x="83" y="104"/>
                            <a:pt x="75" y="115"/>
                          </a:cubicBezTo>
                          <a:cubicBezTo>
                            <a:pt x="67" y="126"/>
                            <a:pt x="56" y="132"/>
                            <a:pt x="42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3" name="Freeform 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977235" y="5222732"/>
                      <a:ext cx="144145" cy="215633"/>
                    </a:xfrm>
                    <a:custGeom>
                      <a:avLst/>
                      <a:gdLst>
                        <a:gd name="T0" fmla="*/ 45 w 88"/>
                        <a:gd name="T1" fmla="*/ 16 h 132"/>
                        <a:gd name="T2" fmla="*/ 45 w 88"/>
                        <a:gd name="T3" fmla="*/ 16 h 132"/>
                        <a:gd name="T4" fmla="*/ 22 w 88"/>
                        <a:gd name="T5" fmla="*/ 67 h 132"/>
                        <a:gd name="T6" fmla="*/ 45 w 88"/>
                        <a:gd name="T7" fmla="*/ 116 h 132"/>
                        <a:gd name="T8" fmla="*/ 67 w 88"/>
                        <a:gd name="T9" fmla="*/ 67 h 132"/>
                        <a:gd name="T10" fmla="*/ 45 w 88"/>
                        <a:gd name="T11" fmla="*/ 16 h 132"/>
                        <a:gd name="T12" fmla="*/ 43 w 88"/>
                        <a:gd name="T13" fmla="*/ 132 h 132"/>
                        <a:gd name="T14" fmla="*/ 43 w 88"/>
                        <a:gd name="T15" fmla="*/ 132 h 132"/>
                        <a:gd name="T16" fmla="*/ 12 w 88"/>
                        <a:gd name="T17" fmla="*/ 116 h 132"/>
                        <a:gd name="T18" fmla="*/ 0 w 88"/>
                        <a:gd name="T19" fmla="*/ 68 h 132"/>
                        <a:gd name="T20" fmla="*/ 12 w 88"/>
                        <a:gd name="T21" fmla="*/ 17 h 132"/>
                        <a:gd name="T22" fmla="*/ 46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3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5" y="16"/>
                          </a:moveTo>
                          <a:cubicBezTo>
                            <a:pt x="45" y="16"/>
                            <a:pt x="45" y="16"/>
                            <a:pt x="45" y="16"/>
                          </a:cubicBezTo>
                          <a:cubicBezTo>
                            <a:pt x="29" y="16"/>
                            <a:pt x="22" y="33"/>
                            <a:pt x="22" y="67"/>
                          </a:cubicBezTo>
                          <a:cubicBezTo>
                            <a:pt x="22" y="100"/>
                            <a:pt x="29" y="116"/>
                            <a:pt x="45" y="116"/>
                          </a:cubicBezTo>
                          <a:cubicBezTo>
                            <a:pt x="60" y="116"/>
                            <a:pt x="67" y="99"/>
                            <a:pt x="67" y="67"/>
                          </a:cubicBezTo>
                          <a:cubicBezTo>
                            <a:pt x="67" y="33"/>
                            <a:pt x="60" y="16"/>
                            <a:pt x="45" y="16"/>
                          </a:cubicBezTo>
                          <a:close/>
                          <a:moveTo>
                            <a:pt x="43" y="132"/>
                          </a:moveTo>
                          <a:cubicBezTo>
                            <a:pt x="43" y="132"/>
                            <a:pt x="43" y="132"/>
                            <a:pt x="43" y="132"/>
                          </a:cubicBezTo>
                          <a:cubicBezTo>
                            <a:pt x="29" y="132"/>
                            <a:pt x="19" y="127"/>
                            <a:pt x="12" y="116"/>
                          </a:cubicBezTo>
                          <a:cubicBezTo>
                            <a:pt x="4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2" y="17"/>
                          </a:cubicBezTo>
                          <a:cubicBezTo>
                            <a:pt x="20" y="5"/>
                            <a:pt x="31" y="0"/>
                            <a:pt x="46" y="0"/>
                          </a:cubicBezTo>
                          <a:cubicBezTo>
                            <a:pt x="74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3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4" name="Freeform 1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54193" y="5222732"/>
                      <a:ext cx="144145" cy="215633"/>
                    </a:xfrm>
                    <a:custGeom>
                      <a:avLst/>
                      <a:gdLst>
                        <a:gd name="T0" fmla="*/ 45 w 88"/>
                        <a:gd name="T1" fmla="*/ 16 h 132"/>
                        <a:gd name="T2" fmla="*/ 45 w 88"/>
                        <a:gd name="T3" fmla="*/ 16 h 132"/>
                        <a:gd name="T4" fmla="*/ 21 w 88"/>
                        <a:gd name="T5" fmla="*/ 67 h 132"/>
                        <a:gd name="T6" fmla="*/ 44 w 88"/>
                        <a:gd name="T7" fmla="*/ 116 h 132"/>
                        <a:gd name="T8" fmla="*/ 67 w 88"/>
                        <a:gd name="T9" fmla="*/ 67 h 132"/>
                        <a:gd name="T10" fmla="*/ 45 w 88"/>
                        <a:gd name="T11" fmla="*/ 16 h 132"/>
                        <a:gd name="T12" fmla="*/ 43 w 88"/>
                        <a:gd name="T13" fmla="*/ 132 h 132"/>
                        <a:gd name="T14" fmla="*/ 43 w 88"/>
                        <a:gd name="T15" fmla="*/ 132 h 132"/>
                        <a:gd name="T16" fmla="*/ 11 w 88"/>
                        <a:gd name="T17" fmla="*/ 116 h 132"/>
                        <a:gd name="T18" fmla="*/ 0 w 88"/>
                        <a:gd name="T19" fmla="*/ 68 h 132"/>
                        <a:gd name="T20" fmla="*/ 12 w 88"/>
                        <a:gd name="T21" fmla="*/ 17 h 132"/>
                        <a:gd name="T22" fmla="*/ 46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3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5" y="16"/>
                          </a:moveTo>
                          <a:cubicBezTo>
                            <a:pt x="45" y="16"/>
                            <a:pt x="45" y="16"/>
                            <a:pt x="45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9" y="116"/>
                            <a:pt x="44" y="116"/>
                          </a:cubicBezTo>
                          <a:cubicBezTo>
                            <a:pt x="59" y="116"/>
                            <a:pt x="67" y="99"/>
                            <a:pt x="67" y="67"/>
                          </a:cubicBezTo>
                          <a:cubicBezTo>
                            <a:pt x="67" y="33"/>
                            <a:pt x="59" y="16"/>
                            <a:pt x="45" y="16"/>
                          </a:cubicBezTo>
                          <a:close/>
                          <a:moveTo>
                            <a:pt x="43" y="132"/>
                          </a:moveTo>
                          <a:cubicBezTo>
                            <a:pt x="43" y="132"/>
                            <a:pt x="43" y="132"/>
                            <a:pt x="43" y="132"/>
                          </a:cubicBezTo>
                          <a:cubicBezTo>
                            <a:pt x="29" y="132"/>
                            <a:pt x="19" y="127"/>
                            <a:pt x="11" y="116"/>
                          </a:cubicBezTo>
                          <a:cubicBezTo>
                            <a:pt x="4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2" y="17"/>
                          </a:cubicBezTo>
                          <a:cubicBezTo>
                            <a:pt x="20" y="5"/>
                            <a:pt x="31" y="0"/>
                            <a:pt x="46" y="0"/>
                          </a:cubicBezTo>
                          <a:cubicBezTo>
                            <a:pt x="74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3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5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11465921" y="5312968"/>
                      <a:ext cx="724239" cy="292978"/>
                    </a:xfrm>
                    <a:custGeom>
                      <a:avLst/>
                      <a:gdLst>
                        <a:gd name="T0" fmla="*/ 0 w 442"/>
                        <a:gd name="T1" fmla="*/ 179 h 179"/>
                        <a:gd name="T2" fmla="*/ 0 w 442"/>
                        <a:gd name="T3" fmla="*/ 179 h 179"/>
                        <a:gd name="T4" fmla="*/ 290 w 442"/>
                        <a:gd name="T5" fmla="*/ 179 h 179"/>
                        <a:gd name="T6" fmla="*/ 442 w 442"/>
                        <a:gd name="T7" fmla="*/ 179 h 179"/>
                        <a:gd name="T8" fmla="*/ 442 w 442"/>
                        <a:gd name="T9" fmla="*/ 9 h 179"/>
                        <a:gd name="T10" fmla="*/ 0 w 442"/>
                        <a:gd name="T11" fmla="*/ 179 h 1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42" h="179">
                          <a:moveTo>
                            <a:pt x="0" y="179"/>
                          </a:moveTo>
                          <a:cubicBezTo>
                            <a:pt x="0" y="179"/>
                            <a:pt x="0" y="179"/>
                            <a:pt x="0" y="179"/>
                          </a:cubicBezTo>
                          <a:cubicBezTo>
                            <a:pt x="290" y="179"/>
                            <a:pt x="290" y="179"/>
                            <a:pt x="290" y="179"/>
                          </a:cubicBezTo>
                          <a:cubicBezTo>
                            <a:pt x="442" y="179"/>
                            <a:pt x="442" y="179"/>
                            <a:pt x="442" y="179"/>
                          </a:cubicBezTo>
                          <a:cubicBezTo>
                            <a:pt x="442" y="9"/>
                            <a:pt x="442" y="9"/>
                            <a:pt x="442" y="9"/>
                          </a:cubicBezTo>
                          <a:cubicBezTo>
                            <a:pt x="283" y="0"/>
                            <a:pt x="122" y="57"/>
                            <a:pt x="0" y="179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6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11297167" y="4746935"/>
                      <a:ext cx="229694" cy="631661"/>
                    </a:xfrm>
                    <a:custGeom>
                      <a:avLst/>
                      <a:gdLst>
                        <a:gd name="T0" fmla="*/ 140 w 140"/>
                        <a:gd name="T1" fmla="*/ 0 h 385"/>
                        <a:gd name="T2" fmla="*/ 140 w 140"/>
                        <a:gd name="T3" fmla="*/ 0 h 385"/>
                        <a:gd name="T4" fmla="*/ 140 w 140"/>
                        <a:gd name="T5" fmla="*/ 385 h 385"/>
                        <a:gd name="T6" fmla="*/ 79 w 140"/>
                        <a:gd name="T7" fmla="*/ 385 h 385"/>
                        <a:gd name="T8" fmla="*/ 79 w 140"/>
                        <a:gd name="T9" fmla="*/ 74 h 385"/>
                        <a:gd name="T10" fmla="*/ 43 w 140"/>
                        <a:gd name="T11" fmla="*/ 95 h 385"/>
                        <a:gd name="T12" fmla="*/ 0 w 140"/>
                        <a:gd name="T13" fmla="*/ 109 h 385"/>
                        <a:gd name="T14" fmla="*/ 0 w 140"/>
                        <a:gd name="T15" fmla="*/ 57 h 385"/>
                        <a:gd name="T16" fmla="*/ 29 w 140"/>
                        <a:gd name="T17" fmla="*/ 47 h 385"/>
                        <a:gd name="T18" fmla="*/ 57 w 140"/>
                        <a:gd name="T19" fmla="*/ 34 h 385"/>
                        <a:gd name="T20" fmla="*/ 85 w 140"/>
                        <a:gd name="T21" fmla="*/ 19 h 385"/>
                        <a:gd name="T22" fmla="*/ 114 w 140"/>
                        <a:gd name="T23" fmla="*/ 0 h 385"/>
                        <a:gd name="T24" fmla="*/ 140 w 140"/>
                        <a:gd name="T25" fmla="*/ 0 h 385"/>
                        <a:gd name="T26" fmla="*/ 140 w 140"/>
                        <a:gd name="T27" fmla="*/ 0 h 3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40" h="385">
                          <a:moveTo>
                            <a:pt x="140" y="0"/>
                          </a:moveTo>
                          <a:cubicBezTo>
                            <a:pt x="140" y="0"/>
                            <a:pt x="140" y="0"/>
                            <a:pt x="140" y="0"/>
                          </a:cubicBezTo>
                          <a:cubicBezTo>
                            <a:pt x="140" y="385"/>
                            <a:pt x="140" y="385"/>
                            <a:pt x="140" y="385"/>
                          </a:cubicBezTo>
                          <a:cubicBezTo>
                            <a:pt x="79" y="385"/>
                            <a:pt x="79" y="385"/>
                            <a:pt x="79" y="385"/>
                          </a:cubicBezTo>
                          <a:cubicBezTo>
                            <a:pt x="79" y="74"/>
                            <a:pt x="79" y="74"/>
                            <a:pt x="79" y="74"/>
                          </a:cubicBezTo>
                          <a:cubicBezTo>
                            <a:pt x="68" y="82"/>
                            <a:pt x="56" y="89"/>
                            <a:pt x="43" y="95"/>
                          </a:cubicBezTo>
                          <a:cubicBezTo>
                            <a:pt x="31" y="100"/>
                            <a:pt x="16" y="105"/>
                            <a:pt x="0" y="109"/>
                          </a:cubicBezTo>
                          <a:cubicBezTo>
                            <a:pt x="0" y="57"/>
                            <a:pt x="0" y="57"/>
                            <a:pt x="0" y="57"/>
                          </a:cubicBezTo>
                          <a:cubicBezTo>
                            <a:pt x="10" y="54"/>
                            <a:pt x="20" y="50"/>
                            <a:pt x="29" y="47"/>
                          </a:cubicBezTo>
                          <a:cubicBezTo>
                            <a:pt x="39" y="43"/>
                            <a:pt x="48" y="39"/>
                            <a:pt x="57" y="34"/>
                          </a:cubicBezTo>
                          <a:cubicBezTo>
                            <a:pt x="67" y="30"/>
                            <a:pt x="76" y="25"/>
                            <a:pt x="85" y="19"/>
                          </a:cubicBezTo>
                          <a:cubicBezTo>
                            <a:pt x="95" y="13"/>
                            <a:pt x="104" y="7"/>
                            <a:pt x="114" y="0"/>
                          </a:cubicBezTo>
                          <a:cubicBezTo>
                            <a:pt x="140" y="0"/>
                            <a:pt x="140" y="0"/>
                            <a:pt x="140" y="0"/>
                          </a:cubicBezTo>
                          <a:cubicBezTo>
                            <a:pt x="140" y="0"/>
                            <a:pt x="140" y="0"/>
                            <a:pt x="140" y="0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7" name="Freeform 1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587798" y="4738729"/>
                      <a:ext cx="448840" cy="678537"/>
                    </a:xfrm>
                    <a:custGeom>
                      <a:avLst/>
                      <a:gdLst>
                        <a:gd name="T0" fmla="*/ 139 w 274"/>
                        <a:gd name="T1" fmla="*/ 52 h 414"/>
                        <a:gd name="T2" fmla="*/ 139 w 274"/>
                        <a:gd name="T3" fmla="*/ 52 h 414"/>
                        <a:gd name="T4" fmla="*/ 66 w 274"/>
                        <a:gd name="T5" fmla="*/ 212 h 414"/>
                        <a:gd name="T6" fmla="*/ 137 w 274"/>
                        <a:gd name="T7" fmla="*/ 363 h 414"/>
                        <a:gd name="T8" fmla="*/ 208 w 274"/>
                        <a:gd name="T9" fmla="*/ 210 h 414"/>
                        <a:gd name="T10" fmla="*/ 139 w 274"/>
                        <a:gd name="T11" fmla="*/ 52 h 414"/>
                        <a:gd name="T12" fmla="*/ 132 w 274"/>
                        <a:gd name="T13" fmla="*/ 414 h 414"/>
                        <a:gd name="T14" fmla="*/ 132 w 274"/>
                        <a:gd name="T15" fmla="*/ 414 h 414"/>
                        <a:gd name="T16" fmla="*/ 35 w 274"/>
                        <a:gd name="T17" fmla="*/ 363 h 414"/>
                        <a:gd name="T18" fmla="*/ 0 w 274"/>
                        <a:gd name="T19" fmla="*/ 215 h 414"/>
                        <a:gd name="T20" fmla="*/ 36 w 274"/>
                        <a:gd name="T21" fmla="*/ 55 h 414"/>
                        <a:gd name="T22" fmla="*/ 142 w 274"/>
                        <a:gd name="T23" fmla="*/ 0 h 414"/>
                        <a:gd name="T24" fmla="*/ 274 w 274"/>
                        <a:gd name="T25" fmla="*/ 205 h 414"/>
                        <a:gd name="T26" fmla="*/ 237 w 274"/>
                        <a:gd name="T27" fmla="*/ 361 h 414"/>
                        <a:gd name="T28" fmla="*/ 132 w 274"/>
                        <a:gd name="T29" fmla="*/ 414 h 4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74" h="414">
                          <a:moveTo>
                            <a:pt x="139" y="52"/>
                          </a:moveTo>
                          <a:cubicBezTo>
                            <a:pt x="139" y="52"/>
                            <a:pt x="139" y="52"/>
                            <a:pt x="139" y="52"/>
                          </a:cubicBezTo>
                          <a:cubicBezTo>
                            <a:pt x="90" y="52"/>
                            <a:pt x="66" y="105"/>
                            <a:pt x="66" y="212"/>
                          </a:cubicBezTo>
                          <a:cubicBezTo>
                            <a:pt x="66" y="313"/>
                            <a:pt x="90" y="363"/>
                            <a:pt x="137" y="363"/>
                          </a:cubicBezTo>
                          <a:cubicBezTo>
                            <a:pt x="184" y="363"/>
                            <a:pt x="208" y="312"/>
                            <a:pt x="208" y="210"/>
                          </a:cubicBezTo>
                          <a:cubicBezTo>
                            <a:pt x="208" y="104"/>
                            <a:pt x="185" y="52"/>
                            <a:pt x="139" y="52"/>
                          </a:cubicBezTo>
                          <a:close/>
                          <a:moveTo>
                            <a:pt x="132" y="414"/>
                          </a:moveTo>
                          <a:cubicBezTo>
                            <a:pt x="132" y="414"/>
                            <a:pt x="132" y="414"/>
                            <a:pt x="132" y="414"/>
                          </a:cubicBezTo>
                          <a:cubicBezTo>
                            <a:pt x="91" y="414"/>
                            <a:pt x="58" y="397"/>
                            <a:pt x="35" y="363"/>
                          </a:cubicBezTo>
                          <a:cubicBezTo>
                            <a:pt x="11" y="329"/>
                            <a:pt x="0" y="280"/>
                            <a:pt x="0" y="215"/>
                          </a:cubicBezTo>
                          <a:cubicBezTo>
                            <a:pt x="0" y="144"/>
                            <a:pt x="12" y="91"/>
                            <a:pt x="36" y="55"/>
                          </a:cubicBezTo>
                          <a:cubicBezTo>
                            <a:pt x="61" y="18"/>
                            <a:pt x="96" y="0"/>
                            <a:pt x="142" y="0"/>
                          </a:cubicBezTo>
                          <a:cubicBezTo>
                            <a:pt x="230" y="0"/>
                            <a:pt x="274" y="68"/>
                            <a:pt x="274" y="205"/>
                          </a:cubicBezTo>
                          <a:cubicBezTo>
                            <a:pt x="274" y="273"/>
                            <a:pt x="262" y="325"/>
                            <a:pt x="237" y="361"/>
                          </a:cubicBezTo>
                          <a:cubicBezTo>
                            <a:pt x="212" y="396"/>
                            <a:pt x="177" y="414"/>
                            <a:pt x="132" y="414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8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10529564" y="5119601"/>
                      <a:ext cx="1660593" cy="486343"/>
                    </a:xfrm>
                    <a:custGeom>
                      <a:avLst/>
                      <a:gdLst>
                        <a:gd name="T0" fmla="*/ 0 w 1013"/>
                        <a:gd name="T1" fmla="*/ 297 h 297"/>
                        <a:gd name="T2" fmla="*/ 0 w 1013"/>
                        <a:gd name="T3" fmla="*/ 297 h 297"/>
                        <a:gd name="T4" fmla="*/ 1013 w 1013"/>
                        <a:gd name="T5" fmla="*/ 297 h 297"/>
                        <a:gd name="T6" fmla="*/ 1013 w 1013"/>
                        <a:gd name="T7" fmla="*/ 239 h 297"/>
                        <a:gd name="T8" fmla="*/ 0 w 1013"/>
                        <a:gd name="T9" fmla="*/ 297 h 2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13" h="297">
                          <a:moveTo>
                            <a:pt x="0" y="297"/>
                          </a:moveTo>
                          <a:cubicBezTo>
                            <a:pt x="0" y="297"/>
                            <a:pt x="0" y="297"/>
                            <a:pt x="0" y="297"/>
                          </a:cubicBezTo>
                          <a:cubicBezTo>
                            <a:pt x="1013" y="297"/>
                            <a:pt x="1013" y="297"/>
                            <a:pt x="1013" y="297"/>
                          </a:cubicBezTo>
                          <a:cubicBezTo>
                            <a:pt x="1013" y="239"/>
                            <a:pt x="1013" y="239"/>
                            <a:pt x="1013" y="239"/>
                          </a:cubicBezTo>
                          <a:cubicBezTo>
                            <a:pt x="714" y="0"/>
                            <a:pt x="277" y="19"/>
                            <a:pt x="0" y="297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9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11013563" y="5252027"/>
                      <a:ext cx="213287" cy="260164"/>
                    </a:xfrm>
                    <a:custGeom>
                      <a:avLst/>
                      <a:gdLst>
                        <a:gd name="T0" fmla="*/ 43 w 130"/>
                        <a:gd name="T1" fmla="*/ 159 h 159"/>
                        <a:gd name="T2" fmla="*/ 43 w 130"/>
                        <a:gd name="T3" fmla="*/ 159 h 159"/>
                        <a:gd name="T4" fmla="*/ 130 w 130"/>
                        <a:gd name="T5" fmla="*/ 0 h 159"/>
                        <a:gd name="T6" fmla="*/ 77 w 130"/>
                        <a:gd name="T7" fmla="*/ 10 h 159"/>
                        <a:gd name="T8" fmla="*/ 0 w 130"/>
                        <a:gd name="T9" fmla="*/ 159 h 159"/>
                        <a:gd name="T10" fmla="*/ 43 w 130"/>
                        <a:gd name="T11" fmla="*/ 159 h 159"/>
                        <a:gd name="T12" fmla="*/ 43 w 130"/>
                        <a:gd name="T13" fmla="*/ 159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0" h="159">
                          <a:moveTo>
                            <a:pt x="43" y="159"/>
                          </a:moveTo>
                          <a:cubicBezTo>
                            <a:pt x="43" y="159"/>
                            <a:pt x="43" y="159"/>
                            <a:pt x="43" y="159"/>
                          </a:cubicBezTo>
                          <a:cubicBezTo>
                            <a:pt x="48" y="109"/>
                            <a:pt x="77" y="51"/>
                            <a:pt x="130" y="0"/>
                          </a:cubicBezTo>
                          <a:cubicBezTo>
                            <a:pt x="112" y="3"/>
                            <a:pt x="95" y="6"/>
                            <a:pt x="77" y="10"/>
                          </a:cubicBezTo>
                          <a:cubicBezTo>
                            <a:pt x="31" y="59"/>
                            <a:pt x="5" y="113"/>
                            <a:pt x="0" y="159"/>
                          </a:cubicBezTo>
                          <a:cubicBezTo>
                            <a:pt x="43" y="159"/>
                            <a:pt x="43" y="159"/>
                            <a:pt x="43" y="159"/>
                          </a:cubicBezTo>
                          <a:cubicBezTo>
                            <a:pt x="43" y="159"/>
                            <a:pt x="43" y="159"/>
                            <a:pt x="43" y="159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0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11700301" y="5261403"/>
                      <a:ext cx="64456" cy="24610"/>
                    </a:xfrm>
                    <a:custGeom>
                      <a:avLst/>
                      <a:gdLst>
                        <a:gd name="T0" fmla="*/ 39 w 39"/>
                        <a:gd name="T1" fmla="*/ 10 h 15"/>
                        <a:gd name="T2" fmla="*/ 39 w 39"/>
                        <a:gd name="T3" fmla="*/ 10 h 15"/>
                        <a:gd name="T4" fmla="*/ 6 w 39"/>
                        <a:gd name="T5" fmla="*/ 0 h 15"/>
                        <a:gd name="T6" fmla="*/ 0 w 39"/>
                        <a:gd name="T7" fmla="*/ 6 h 15"/>
                        <a:gd name="T8" fmla="*/ 35 w 39"/>
                        <a:gd name="T9" fmla="*/ 15 h 15"/>
                        <a:gd name="T10" fmla="*/ 39 w 39"/>
                        <a:gd name="T11" fmla="*/ 1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9" h="15">
                          <a:moveTo>
                            <a:pt x="39" y="10"/>
                          </a:moveTo>
                          <a:cubicBezTo>
                            <a:pt x="39" y="10"/>
                            <a:pt x="39" y="10"/>
                            <a:pt x="39" y="10"/>
                          </a:cubicBezTo>
                          <a:cubicBezTo>
                            <a:pt x="28" y="6"/>
                            <a:pt x="17" y="3"/>
                            <a:pt x="6" y="0"/>
                          </a:cubicBezTo>
                          <a:cubicBezTo>
                            <a:pt x="4" y="2"/>
                            <a:pt x="2" y="4"/>
                            <a:pt x="0" y="6"/>
                          </a:cubicBezTo>
                          <a:cubicBezTo>
                            <a:pt x="11" y="9"/>
                            <a:pt x="23" y="12"/>
                            <a:pt x="35" y="15"/>
                          </a:cubicBezTo>
                          <a:cubicBezTo>
                            <a:pt x="36" y="13"/>
                            <a:pt x="38" y="12"/>
                            <a:pt x="39" y="1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1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11576079" y="5271948"/>
                      <a:ext cx="181645" cy="240243"/>
                    </a:xfrm>
                    <a:custGeom>
                      <a:avLst/>
                      <a:gdLst>
                        <a:gd name="T0" fmla="*/ 43 w 111"/>
                        <a:gd name="T1" fmla="*/ 147 h 147"/>
                        <a:gd name="T2" fmla="*/ 43 w 111"/>
                        <a:gd name="T3" fmla="*/ 147 h 147"/>
                        <a:gd name="T4" fmla="*/ 111 w 111"/>
                        <a:gd name="T5" fmla="*/ 9 h 147"/>
                        <a:gd name="T6" fmla="*/ 76 w 111"/>
                        <a:gd name="T7" fmla="*/ 0 h 147"/>
                        <a:gd name="T8" fmla="*/ 0 w 111"/>
                        <a:gd name="T9" fmla="*/ 147 h 147"/>
                        <a:gd name="T10" fmla="*/ 43 w 111"/>
                        <a:gd name="T11" fmla="*/ 147 h 147"/>
                        <a:gd name="T12" fmla="*/ 43 w 111"/>
                        <a:gd name="T13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11" h="147">
                          <a:moveTo>
                            <a:pt x="43" y="147"/>
                          </a:moveTo>
                          <a:cubicBezTo>
                            <a:pt x="43" y="147"/>
                            <a:pt x="43" y="147"/>
                            <a:pt x="43" y="147"/>
                          </a:cubicBezTo>
                          <a:cubicBezTo>
                            <a:pt x="48" y="104"/>
                            <a:pt x="70" y="55"/>
                            <a:pt x="111" y="9"/>
                          </a:cubicBezTo>
                          <a:cubicBezTo>
                            <a:pt x="99" y="6"/>
                            <a:pt x="87" y="3"/>
                            <a:pt x="76" y="0"/>
                          </a:cubicBezTo>
                          <a:cubicBezTo>
                            <a:pt x="31" y="48"/>
                            <a:pt x="5" y="101"/>
                            <a:pt x="0" y="147"/>
                          </a:cubicBezTo>
                          <a:cubicBezTo>
                            <a:pt x="43" y="147"/>
                            <a:pt x="43" y="147"/>
                            <a:pt x="43" y="147"/>
                          </a:cubicBezTo>
                          <a:cubicBezTo>
                            <a:pt x="43" y="147"/>
                            <a:pt x="43" y="147"/>
                            <a:pt x="43" y="147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2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11182317" y="5239137"/>
                      <a:ext cx="414856" cy="283603"/>
                    </a:xfrm>
                    <a:custGeom>
                      <a:avLst/>
                      <a:gdLst>
                        <a:gd name="T0" fmla="*/ 40 w 253"/>
                        <a:gd name="T1" fmla="*/ 38 h 173"/>
                        <a:gd name="T2" fmla="*/ 40 w 253"/>
                        <a:gd name="T3" fmla="*/ 38 h 173"/>
                        <a:gd name="T4" fmla="*/ 9 w 253"/>
                        <a:gd name="T5" fmla="*/ 140 h 173"/>
                        <a:gd name="T6" fmla="*/ 70 w 253"/>
                        <a:gd name="T7" fmla="*/ 173 h 173"/>
                        <a:gd name="T8" fmla="*/ 146 w 253"/>
                        <a:gd name="T9" fmla="*/ 138 h 173"/>
                        <a:gd name="T10" fmla="*/ 232 w 253"/>
                        <a:gd name="T11" fmla="*/ 31 h 173"/>
                        <a:gd name="T12" fmla="*/ 253 w 253"/>
                        <a:gd name="T13" fmla="*/ 8 h 173"/>
                        <a:gd name="T14" fmla="*/ 213 w 253"/>
                        <a:gd name="T15" fmla="*/ 3 h 173"/>
                        <a:gd name="T16" fmla="*/ 184 w 253"/>
                        <a:gd name="T17" fmla="*/ 34 h 173"/>
                        <a:gd name="T18" fmla="*/ 79 w 253"/>
                        <a:gd name="T19" fmla="*/ 140 h 173"/>
                        <a:gd name="T20" fmla="*/ 87 w 253"/>
                        <a:gd name="T21" fmla="*/ 36 h 173"/>
                        <a:gd name="T22" fmla="*/ 123 w 253"/>
                        <a:gd name="T23" fmla="*/ 0 h 173"/>
                        <a:gd name="T24" fmla="*/ 76 w 253"/>
                        <a:gd name="T25" fmla="*/ 3 h 173"/>
                        <a:gd name="T26" fmla="*/ 40 w 253"/>
                        <a:gd name="T27" fmla="*/ 38 h 1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53" h="173">
                          <a:moveTo>
                            <a:pt x="40" y="38"/>
                          </a:moveTo>
                          <a:cubicBezTo>
                            <a:pt x="40" y="38"/>
                            <a:pt x="40" y="38"/>
                            <a:pt x="40" y="38"/>
                          </a:cubicBezTo>
                          <a:cubicBezTo>
                            <a:pt x="4" y="82"/>
                            <a:pt x="0" y="117"/>
                            <a:pt x="9" y="140"/>
                          </a:cubicBezTo>
                          <a:cubicBezTo>
                            <a:pt x="19" y="163"/>
                            <a:pt x="42" y="173"/>
                            <a:pt x="70" y="173"/>
                          </a:cubicBezTo>
                          <a:cubicBezTo>
                            <a:pt x="100" y="173"/>
                            <a:pt x="123" y="162"/>
                            <a:pt x="146" y="138"/>
                          </a:cubicBezTo>
                          <a:cubicBezTo>
                            <a:pt x="170" y="115"/>
                            <a:pt x="192" y="77"/>
                            <a:pt x="232" y="31"/>
                          </a:cubicBezTo>
                          <a:cubicBezTo>
                            <a:pt x="239" y="23"/>
                            <a:pt x="246" y="15"/>
                            <a:pt x="253" y="8"/>
                          </a:cubicBezTo>
                          <a:cubicBezTo>
                            <a:pt x="240" y="6"/>
                            <a:pt x="226" y="5"/>
                            <a:pt x="213" y="3"/>
                          </a:cubicBezTo>
                          <a:cubicBezTo>
                            <a:pt x="204" y="12"/>
                            <a:pt x="194" y="23"/>
                            <a:pt x="184" y="34"/>
                          </a:cubicBezTo>
                          <a:cubicBezTo>
                            <a:pt x="127" y="105"/>
                            <a:pt x="113" y="140"/>
                            <a:pt x="79" y="140"/>
                          </a:cubicBezTo>
                          <a:cubicBezTo>
                            <a:pt x="49" y="140"/>
                            <a:pt x="32" y="105"/>
                            <a:pt x="87" y="36"/>
                          </a:cubicBezTo>
                          <a:cubicBezTo>
                            <a:pt x="98" y="22"/>
                            <a:pt x="110" y="11"/>
                            <a:pt x="123" y="0"/>
                          </a:cubicBezTo>
                          <a:cubicBezTo>
                            <a:pt x="107" y="1"/>
                            <a:pt x="91" y="1"/>
                            <a:pt x="76" y="3"/>
                          </a:cubicBezTo>
                          <a:cubicBezTo>
                            <a:pt x="63" y="13"/>
                            <a:pt x="51" y="25"/>
                            <a:pt x="40" y="38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3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11749521" y="5304762"/>
                      <a:ext cx="288289" cy="217975"/>
                    </a:xfrm>
                    <a:custGeom>
                      <a:avLst/>
                      <a:gdLst>
                        <a:gd name="T0" fmla="*/ 9 w 176"/>
                        <a:gd name="T1" fmla="*/ 100 h 133"/>
                        <a:gd name="T2" fmla="*/ 9 w 176"/>
                        <a:gd name="T3" fmla="*/ 100 h 133"/>
                        <a:gd name="T4" fmla="*/ 70 w 176"/>
                        <a:gd name="T5" fmla="*/ 133 h 133"/>
                        <a:gd name="T6" fmla="*/ 146 w 176"/>
                        <a:gd name="T7" fmla="*/ 98 h 133"/>
                        <a:gd name="T8" fmla="*/ 176 w 176"/>
                        <a:gd name="T9" fmla="*/ 62 h 133"/>
                        <a:gd name="T10" fmla="*/ 145 w 176"/>
                        <a:gd name="T11" fmla="*/ 45 h 133"/>
                        <a:gd name="T12" fmla="*/ 79 w 176"/>
                        <a:gd name="T13" fmla="*/ 100 h 133"/>
                        <a:gd name="T14" fmla="*/ 74 w 176"/>
                        <a:gd name="T15" fmla="*/ 13 h 133"/>
                        <a:gd name="T16" fmla="*/ 39 w 176"/>
                        <a:gd name="T17" fmla="*/ 0 h 133"/>
                        <a:gd name="T18" fmla="*/ 9 w 176"/>
                        <a:gd name="T19" fmla="*/ 100 h 1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76" h="133">
                          <a:moveTo>
                            <a:pt x="9" y="100"/>
                          </a:moveTo>
                          <a:cubicBezTo>
                            <a:pt x="9" y="100"/>
                            <a:pt x="9" y="100"/>
                            <a:pt x="9" y="100"/>
                          </a:cubicBezTo>
                          <a:cubicBezTo>
                            <a:pt x="19" y="123"/>
                            <a:pt x="42" y="133"/>
                            <a:pt x="70" y="133"/>
                          </a:cubicBezTo>
                          <a:cubicBezTo>
                            <a:pt x="100" y="133"/>
                            <a:pt x="123" y="122"/>
                            <a:pt x="146" y="98"/>
                          </a:cubicBezTo>
                          <a:cubicBezTo>
                            <a:pt x="156" y="88"/>
                            <a:pt x="166" y="76"/>
                            <a:pt x="176" y="62"/>
                          </a:cubicBezTo>
                          <a:cubicBezTo>
                            <a:pt x="166" y="56"/>
                            <a:pt x="156" y="50"/>
                            <a:pt x="145" y="45"/>
                          </a:cubicBezTo>
                          <a:cubicBezTo>
                            <a:pt x="119" y="82"/>
                            <a:pt x="102" y="100"/>
                            <a:pt x="79" y="100"/>
                          </a:cubicBezTo>
                          <a:cubicBezTo>
                            <a:pt x="51" y="100"/>
                            <a:pt x="35" y="71"/>
                            <a:pt x="74" y="13"/>
                          </a:cubicBezTo>
                          <a:cubicBezTo>
                            <a:pt x="62" y="8"/>
                            <a:pt x="51" y="4"/>
                            <a:pt x="39" y="0"/>
                          </a:cubicBezTo>
                          <a:cubicBezTo>
                            <a:pt x="4" y="43"/>
                            <a:pt x="0" y="78"/>
                            <a:pt x="9" y="10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4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12123359" y="5460626"/>
                      <a:ext cx="66798" cy="62111"/>
                    </a:xfrm>
                    <a:custGeom>
                      <a:avLst/>
                      <a:gdLst>
                        <a:gd name="T0" fmla="*/ 0 w 41"/>
                        <a:gd name="T1" fmla="*/ 0 h 38"/>
                        <a:gd name="T2" fmla="*/ 0 w 41"/>
                        <a:gd name="T3" fmla="*/ 0 h 38"/>
                        <a:gd name="T4" fmla="*/ 0 w 41"/>
                        <a:gd name="T5" fmla="*/ 5 h 38"/>
                        <a:gd name="T6" fmla="*/ 38 w 41"/>
                        <a:gd name="T7" fmla="*/ 38 h 38"/>
                        <a:gd name="T8" fmla="*/ 41 w 41"/>
                        <a:gd name="T9" fmla="*/ 32 h 38"/>
                        <a:gd name="T10" fmla="*/ 41 w 41"/>
                        <a:gd name="T11" fmla="*/ 31 h 38"/>
                        <a:gd name="T12" fmla="*/ 0 w 41"/>
                        <a:gd name="T13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1" h="38"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2"/>
                            <a:pt x="0" y="3"/>
                            <a:pt x="0" y="5"/>
                          </a:cubicBezTo>
                          <a:cubicBezTo>
                            <a:pt x="3" y="25"/>
                            <a:pt x="15" y="36"/>
                            <a:pt x="38" y="38"/>
                          </a:cubicBezTo>
                          <a:cubicBezTo>
                            <a:pt x="41" y="32"/>
                            <a:pt x="41" y="32"/>
                            <a:pt x="41" y="32"/>
                          </a:cubicBezTo>
                          <a:cubicBezTo>
                            <a:pt x="41" y="31"/>
                            <a:pt x="41" y="31"/>
                            <a:pt x="41" y="31"/>
                          </a:cubicBezTo>
                          <a:cubicBezTo>
                            <a:pt x="28" y="20"/>
                            <a:pt x="14" y="1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5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10926835" y="5083271"/>
                      <a:ext cx="155864" cy="428918"/>
                    </a:xfrm>
                    <a:custGeom>
                      <a:avLst/>
                      <a:gdLst>
                        <a:gd name="T0" fmla="*/ 95 w 95"/>
                        <a:gd name="T1" fmla="*/ 0 h 262"/>
                        <a:gd name="T2" fmla="*/ 95 w 95"/>
                        <a:gd name="T3" fmla="*/ 0 h 262"/>
                        <a:gd name="T4" fmla="*/ 95 w 95"/>
                        <a:gd name="T5" fmla="*/ 262 h 262"/>
                        <a:gd name="T6" fmla="*/ 54 w 95"/>
                        <a:gd name="T7" fmla="*/ 262 h 262"/>
                        <a:gd name="T8" fmla="*/ 54 w 95"/>
                        <a:gd name="T9" fmla="*/ 51 h 262"/>
                        <a:gd name="T10" fmla="*/ 30 w 95"/>
                        <a:gd name="T11" fmla="*/ 65 h 262"/>
                        <a:gd name="T12" fmla="*/ 0 w 95"/>
                        <a:gd name="T13" fmla="*/ 74 h 262"/>
                        <a:gd name="T14" fmla="*/ 0 w 95"/>
                        <a:gd name="T15" fmla="*/ 39 h 262"/>
                        <a:gd name="T16" fmla="*/ 20 w 95"/>
                        <a:gd name="T17" fmla="*/ 32 h 262"/>
                        <a:gd name="T18" fmla="*/ 39 w 95"/>
                        <a:gd name="T19" fmla="*/ 24 h 262"/>
                        <a:gd name="T20" fmla="*/ 58 w 95"/>
                        <a:gd name="T21" fmla="*/ 13 h 262"/>
                        <a:gd name="T22" fmla="*/ 78 w 95"/>
                        <a:gd name="T23" fmla="*/ 0 h 262"/>
                        <a:gd name="T24" fmla="*/ 95 w 95"/>
                        <a:gd name="T25" fmla="*/ 0 h 262"/>
                        <a:gd name="T26" fmla="*/ 95 w 95"/>
                        <a:gd name="T27" fmla="*/ 0 h 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5" h="262">
                          <a:moveTo>
                            <a:pt x="9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262"/>
                            <a:pt x="95" y="262"/>
                            <a:pt x="95" y="262"/>
                          </a:cubicBezTo>
                          <a:cubicBezTo>
                            <a:pt x="54" y="262"/>
                            <a:pt x="54" y="262"/>
                            <a:pt x="54" y="262"/>
                          </a:cubicBezTo>
                          <a:cubicBezTo>
                            <a:pt x="54" y="51"/>
                            <a:pt x="54" y="51"/>
                            <a:pt x="54" y="51"/>
                          </a:cubicBezTo>
                          <a:cubicBezTo>
                            <a:pt x="46" y="56"/>
                            <a:pt x="38" y="61"/>
                            <a:pt x="30" y="65"/>
                          </a:cubicBezTo>
                          <a:cubicBezTo>
                            <a:pt x="21" y="68"/>
                            <a:pt x="11" y="72"/>
                            <a:pt x="0" y="74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7" y="37"/>
                            <a:pt x="14" y="34"/>
                            <a:pt x="20" y="32"/>
                          </a:cubicBezTo>
                          <a:cubicBezTo>
                            <a:pt x="26" y="30"/>
                            <a:pt x="33" y="27"/>
                            <a:pt x="39" y="24"/>
                          </a:cubicBezTo>
                          <a:cubicBezTo>
                            <a:pt x="45" y="20"/>
                            <a:pt x="52" y="17"/>
                            <a:pt x="58" y="13"/>
                          </a:cubicBezTo>
                          <a:cubicBezTo>
                            <a:pt x="64" y="9"/>
                            <a:pt x="71" y="5"/>
                            <a:pt x="78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6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11472947" y="5083271"/>
                      <a:ext cx="155864" cy="428918"/>
                    </a:xfrm>
                    <a:custGeom>
                      <a:avLst/>
                      <a:gdLst>
                        <a:gd name="T0" fmla="*/ 95 w 95"/>
                        <a:gd name="T1" fmla="*/ 0 h 262"/>
                        <a:gd name="T2" fmla="*/ 95 w 95"/>
                        <a:gd name="T3" fmla="*/ 0 h 262"/>
                        <a:gd name="T4" fmla="*/ 95 w 95"/>
                        <a:gd name="T5" fmla="*/ 262 h 262"/>
                        <a:gd name="T6" fmla="*/ 54 w 95"/>
                        <a:gd name="T7" fmla="*/ 262 h 262"/>
                        <a:gd name="T8" fmla="*/ 54 w 95"/>
                        <a:gd name="T9" fmla="*/ 51 h 262"/>
                        <a:gd name="T10" fmla="*/ 29 w 95"/>
                        <a:gd name="T11" fmla="*/ 65 h 262"/>
                        <a:gd name="T12" fmla="*/ 0 w 95"/>
                        <a:gd name="T13" fmla="*/ 74 h 262"/>
                        <a:gd name="T14" fmla="*/ 0 w 95"/>
                        <a:gd name="T15" fmla="*/ 39 h 262"/>
                        <a:gd name="T16" fmla="*/ 20 w 95"/>
                        <a:gd name="T17" fmla="*/ 32 h 262"/>
                        <a:gd name="T18" fmla="*/ 39 w 95"/>
                        <a:gd name="T19" fmla="*/ 24 h 262"/>
                        <a:gd name="T20" fmla="*/ 58 w 95"/>
                        <a:gd name="T21" fmla="*/ 13 h 262"/>
                        <a:gd name="T22" fmla="*/ 78 w 95"/>
                        <a:gd name="T23" fmla="*/ 0 h 262"/>
                        <a:gd name="T24" fmla="*/ 95 w 95"/>
                        <a:gd name="T25" fmla="*/ 0 h 262"/>
                        <a:gd name="T26" fmla="*/ 95 w 95"/>
                        <a:gd name="T27" fmla="*/ 0 h 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5" h="262">
                          <a:moveTo>
                            <a:pt x="9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262"/>
                            <a:pt x="95" y="262"/>
                            <a:pt x="95" y="262"/>
                          </a:cubicBezTo>
                          <a:cubicBezTo>
                            <a:pt x="54" y="262"/>
                            <a:pt x="54" y="262"/>
                            <a:pt x="54" y="262"/>
                          </a:cubicBezTo>
                          <a:cubicBezTo>
                            <a:pt x="54" y="51"/>
                            <a:pt x="54" y="51"/>
                            <a:pt x="54" y="51"/>
                          </a:cubicBezTo>
                          <a:cubicBezTo>
                            <a:pt x="46" y="56"/>
                            <a:pt x="38" y="61"/>
                            <a:pt x="29" y="65"/>
                          </a:cubicBezTo>
                          <a:cubicBezTo>
                            <a:pt x="21" y="68"/>
                            <a:pt x="11" y="72"/>
                            <a:pt x="0" y="74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7" y="37"/>
                            <a:pt x="13" y="34"/>
                            <a:pt x="20" y="32"/>
                          </a:cubicBezTo>
                          <a:cubicBezTo>
                            <a:pt x="26" y="30"/>
                            <a:pt x="33" y="27"/>
                            <a:pt x="39" y="24"/>
                          </a:cubicBezTo>
                          <a:cubicBezTo>
                            <a:pt x="45" y="20"/>
                            <a:pt x="51" y="17"/>
                            <a:pt x="58" y="13"/>
                          </a:cubicBezTo>
                          <a:cubicBezTo>
                            <a:pt x="64" y="9"/>
                            <a:pt x="71" y="5"/>
                            <a:pt x="78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7" name="Freeform 2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48333" y="5078584"/>
                      <a:ext cx="294148" cy="444155"/>
                    </a:xfrm>
                    <a:custGeom>
                      <a:avLst/>
                      <a:gdLst>
                        <a:gd name="T0" fmla="*/ 91 w 180"/>
                        <a:gd name="T1" fmla="*/ 34 h 271"/>
                        <a:gd name="T2" fmla="*/ 91 w 180"/>
                        <a:gd name="T3" fmla="*/ 34 h 271"/>
                        <a:gd name="T4" fmla="*/ 43 w 180"/>
                        <a:gd name="T5" fmla="*/ 139 h 271"/>
                        <a:gd name="T6" fmla="*/ 90 w 180"/>
                        <a:gd name="T7" fmla="*/ 238 h 271"/>
                        <a:gd name="T8" fmla="*/ 136 w 180"/>
                        <a:gd name="T9" fmla="*/ 137 h 271"/>
                        <a:gd name="T10" fmla="*/ 91 w 180"/>
                        <a:gd name="T11" fmla="*/ 34 h 271"/>
                        <a:gd name="T12" fmla="*/ 87 w 180"/>
                        <a:gd name="T13" fmla="*/ 271 h 271"/>
                        <a:gd name="T14" fmla="*/ 87 w 180"/>
                        <a:gd name="T15" fmla="*/ 271 h 271"/>
                        <a:gd name="T16" fmla="*/ 23 w 180"/>
                        <a:gd name="T17" fmla="*/ 238 h 271"/>
                        <a:gd name="T18" fmla="*/ 0 w 180"/>
                        <a:gd name="T19" fmla="*/ 141 h 271"/>
                        <a:gd name="T20" fmla="*/ 24 w 180"/>
                        <a:gd name="T21" fmla="*/ 36 h 271"/>
                        <a:gd name="T22" fmla="*/ 93 w 180"/>
                        <a:gd name="T23" fmla="*/ 0 h 271"/>
                        <a:gd name="T24" fmla="*/ 180 w 180"/>
                        <a:gd name="T25" fmla="*/ 135 h 271"/>
                        <a:gd name="T26" fmla="*/ 155 w 180"/>
                        <a:gd name="T27" fmla="*/ 236 h 271"/>
                        <a:gd name="T28" fmla="*/ 87 w 180"/>
                        <a:gd name="T29" fmla="*/ 271 h 2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0" h="271">
                          <a:moveTo>
                            <a:pt x="91" y="34"/>
                          </a:moveTo>
                          <a:cubicBezTo>
                            <a:pt x="91" y="34"/>
                            <a:pt x="91" y="34"/>
                            <a:pt x="91" y="34"/>
                          </a:cubicBezTo>
                          <a:cubicBezTo>
                            <a:pt x="59" y="34"/>
                            <a:pt x="43" y="69"/>
                            <a:pt x="43" y="139"/>
                          </a:cubicBezTo>
                          <a:cubicBezTo>
                            <a:pt x="43" y="205"/>
                            <a:pt x="59" y="238"/>
                            <a:pt x="90" y="238"/>
                          </a:cubicBezTo>
                          <a:cubicBezTo>
                            <a:pt x="121" y="238"/>
                            <a:pt x="136" y="204"/>
                            <a:pt x="136" y="137"/>
                          </a:cubicBezTo>
                          <a:cubicBezTo>
                            <a:pt x="136" y="69"/>
                            <a:pt x="121" y="34"/>
                            <a:pt x="91" y="34"/>
                          </a:cubicBezTo>
                          <a:close/>
                          <a:moveTo>
                            <a:pt x="87" y="271"/>
                          </a:moveTo>
                          <a:cubicBezTo>
                            <a:pt x="87" y="271"/>
                            <a:pt x="87" y="271"/>
                            <a:pt x="87" y="271"/>
                          </a:cubicBezTo>
                          <a:cubicBezTo>
                            <a:pt x="59" y="271"/>
                            <a:pt x="38" y="260"/>
                            <a:pt x="23" y="238"/>
                          </a:cubicBezTo>
                          <a:cubicBezTo>
                            <a:pt x="7" y="216"/>
                            <a:pt x="0" y="183"/>
                            <a:pt x="0" y="141"/>
                          </a:cubicBezTo>
                          <a:cubicBezTo>
                            <a:pt x="0" y="95"/>
                            <a:pt x="8" y="60"/>
                            <a:pt x="24" y="36"/>
                          </a:cubicBezTo>
                          <a:cubicBezTo>
                            <a:pt x="40" y="12"/>
                            <a:pt x="63" y="0"/>
                            <a:pt x="93" y="0"/>
                          </a:cubicBezTo>
                          <a:cubicBezTo>
                            <a:pt x="151" y="0"/>
                            <a:pt x="180" y="45"/>
                            <a:pt x="180" y="135"/>
                          </a:cubicBezTo>
                          <a:cubicBezTo>
                            <a:pt x="180" y="179"/>
                            <a:pt x="171" y="213"/>
                            <a:pt x="155" y="236"/>
                          </a:cubicBezTo>
                          <a:cubicBezTo>
                            <a:pt x="139" y="260"/>
                            <a:pt x="116" y="271"/>
                            <a:pt x="87" y="271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8" name="Freeform 2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696785" y="5078584"/>
                      <a:ext cx="295321" cy="444155"/>
                    </a:xfrm>
                    <a:custGeom>
                      <a:avLst/>
                      <a:gdLst>
                        <a:gd name="T0" fmla="*/ 91 w 180"/>
                        <a:gd name="T1" fmla="*/ 34 h 271"/>
                        <a:gd name="T2" fmla="*/ 91 w 180"/>
                        <a:gd name="T3" fmla="*/ 34 h 271"/>
                        <a:gd name="T4" fmla="*/ 43 w 180"/>
                        <a:gd name="T5" fmla="*/ 139 h 271"/>
                        <a:gd name="T6" fmla="*/ 90 w 180"/>
                        <a:gd name="T7" fmla="*/ 238 h 271"/>
                        <a:gd name="T8" fmla="*/ 136 w 180"/>
                        <a:gd name="T9" fmla="*/ 137 h 271"/>
                        <a:gd name="T10" fmla="*/ 91 w 180"/>
                        <a:gd name="T11" fmla="*/ 34 h 271"/>
                        <a:gd name="T12" fmla="*/ 87 w 180"/>
                        <a:gd name="T13" fmla="*/ 271 h 271"/>
                        <a:gd name="T14" fmla="*/ 87 w 180"/>
                        <a:gd name="T15" fmla="*/ 271 h 271"/>
                        <a:gd name="T16" fmla="*/ 23 w 180"/>
                        <a:gd name="T17" fmla="*/ 238 h 271"/>
                        <a:gd name="T18" fmla="*/ 0 w 180"/>
                        <a:gd name="T19" fmla="*/ 141 h 271"/>
                        <a:gd name="T20" fmla="*/ 24 w 180"/>
                        <a:gd name="T21" fmla="*/ 36 h 271"/>
                        <a:gd name="T22" fmla="*/ 93 w 180"/>
                        <a:gd name="T23" fmla="*/ 0 h 271"/>
                        <a:gd name="T24" fmla="*/ 180 w 180"/>
                        <a:gd name="T25" fmla="*/ 135 h 271"/>
                        <a:gd name="T26" fmla="*/ 155 w 180"/>
                        <a:gd name="T27" fmla="*/ 236 h 271"/>
                        <a:gd name="T28" fmla="*/ 87 w 180"/>
                        <a:gd name="T29" fmla="*/ 271 h 2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0" h="271">
                          <a:moveTo>
                            <a:pt x="91" y="34"/>
                          </a:moveTo>
                          <a:cubicBezTo>
                            <a:pt x="91" y="34"/>
                            <a:pt x="91" y="34"/>
                            <a:pt x="91" y="34"/>
                          </a:cubicBezTo>
                          <a:cubicBezTo>
                            <a:pt x="59" y="34"/>
                            <a:pt x="43" y="69"/>
                            <a:pt x="43" y="139"/>
                          </a:cubicBezTo>
                          <a:cubicBezTo>
                            <a:pt x="43" y="205"/>
                            <a:pt x="59" y="238"/>
                            <a:pt x="90" y="238"/>
                          </a:cubicBezTo>
                          <a:cubicBezTo>
                            <a:pt x="121" y="238"/>
                            <a:pt x="136" y="204"/>
                            <a:pt x="136" y="137"/>
                          </a:cubicBezTo>
                          <a:cubicBezTo>
                            <a:pt x="136" y="69"/>
                            <a:pt x="121" y="34"/>
                            <a:pt x="91" y="34"/>
                          </a:cubicBezTo>
                          <a:close/>
                          <a:moveTo>
                            <a:pt x="87" y="271"/>
                          </a:moveTo>
                          <a:cubicBezTo>
                            <a:pt x="87" y="271"/>
                            <a:pt x="87" y="271"/>
                            <a:pt x="87" y="271"/>
                          </a:cubicBezTo>
                          <a:cubicBezTo>
                            <a:pt x="60" y="271"/>
                            <a:pt x="38" y="260"/>
                            <a:pt x="23" y="238"/>
                          </a:cubicBezTo>
                          <a:cubicBezTo>
                            <a:pt x="8" y="216"/>
                            <a:pt x="0" y="183"/>
                            <a:pt x="0" y="141"/>
                          </a:cubicBezTo>
                          <a:cubicBezTo>
                            <a:pt x="0" y="95"/>
                            <a:pt x="8" y="60"/>
                            <a:pt x="24" y="36"/>
                          </a:cubicBezTo>
                          <a:cubicBezTo>
                            <a:pt x="40" y="12"/>
                            <a:pt x="63" y="0"/>
                            <a:pt x="93" y="0"/>
                          </a:cubicBezTo>
                          <a:cubicBezTo>
                            <a:pt x="151" y="0"/>
                            <a:pt x="180" y="45"/>
                            <a:pt x="180" y="135"/>
                          </a:cubicBezTo>
                          <a:cubicBezTo>
                            <a:pt x="180" y="179"/>
                            <a:pt x="171" y="213"/>
                            <a:pt x="155" y="236"/>
                          </a:cubicBezTo>
                          <a:cubicBezTo>
                            <a:pt x="139" y="260"/>
                            <a:pt x="116" y="271"/>
                            <a:pt x="87" y="271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9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11162390" y="5391484"/>
                      <a:ext cx="910571" cy="214460"/>
                    </a:xfrm>
                    <a:custGeom>
                      <a:avLst/>
                      <a:gdLst>
                        <a:gd name="T0" fmla="*/ 343 w 555"/>
                        <a:gd name="T1" fmla="*/ 21 h 131"/>
                        <a:gd name="T2" fmla="*/ 343 w 555"/>
                        <a:gd name="T3" fmla="*/ 21 h 131"/>
                        <a:gd name="T4" fmla="*/ 0 w 555"/>
                        <a:gd name="T5" fmla="*/ 131 h 131"/>
                        <a:gd name="T6" fmla="*/ 197 w 555"/>
                        <a:gd name="T7" fmla="*/ 131 h 131"/>
                        <a:gd name="T8" fmla="*/ 555 w 555"/>
                        <a:gd name="T9" fmla="*/ 131 h 131"/>
                        <a:gd name="T10" fmla="*/ 343 w 555"/>
                        <a:gd name="T11" fmla="*/ 21 h 1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55" h="131">
                          <a:moveTo>
                            <a:pt x="343" y="21"/>
                          </a:moveTo>
                          <a:cubicBezTo>
                            <a:pt x="343" y="21"/>
                            <a:pt x="343" y="21"/>
                            <a:pt x="343" y="21"/>
                          </a:cubicBezTo>
                          <a:cubicBezTo>
                            <a:pt x="222" y="0"/>
                            <a:pt x="93" y="37"/>
                            <a:pt x="0" y="131"/>
                          </a:cubicBezTo>
                          <a:cubicBezTo>
                            <a:pt x="197" y="131"/>
                            <a:pt x="197" y="131"/>
                            <a:pt x="197" y="131"/>
                          </a:cubicBezTo>
                          <a:cubicBezTo>
                            <a:pt x="555" y="131"/>
                            <a:pt x="555" y="131"/>
                            <a:pt x="555" y="131"/>
                          </a:cubicBezTo>
                          <a:cubicBezTo>
                            <a:pt x="496" y="70"/>
                            <a:pt x="421" y="34"/>
                            <a:pt x="343" y="21"/>
                          </a:cubicBezTo>
                          <a:close/>
                        </a:path>
                      </a:pathLst>
                    </a:custGeom>
                    <a:solidFill>
                      <a:srgbClr val="BAD8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0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2097571" y="4787948"/>
                      <a:ext cx="92582" cy="587127"/>
                    </a:xfrm>
                    <a:custGeom>
                      <a:avLst/>
                      <a:gdLst>
                        <a:gd name="T0" fmla="*/ 36 w 57"/>
                        <a:gd name="T1" fmla="*/ 25 h 358"/>
                        <a:gd name="T2" fmla="*/ 36 w 57"/>
                        <a:gd name="T3" fmla="*/ 25 h 358"/>
                        <a:gd name="T4" fmla="*/ 0 w 57"/>
                        <a:gd name="T5" fmla="*/ 185 h 358"/>
                        <a:gd name="T6" fmla="*/ 35 w 57"/>
                        <a:gd name="T7" fmla="*/ 333 h 358"/>
                        <a:gd name="T8" fmla="*/ 57 w 57"/>
                        <a:gd name="T9" fmla="*/ 358 h 358"/>
                        <a:gd name="T10" fmla="*/ 57 w 57"/>
                        <a:gd name="T11" fmla="*/ 0 h 358"/>
                        <a:gd name="T12" fmla="*/ 36 w 57"/>
                        <a:gd name="T13" fmla="*/ 25 h 3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358">
                          <a:moveTo>
                            <a:pt x="36" y="25"/>
                          </a:moveTo>
                          <a:cubicBezTo>
                            <a:pt x="36" y="25"/>
                            <a:pt x="36" y="25"/>
                            <a:pt x="36" y="25"/>
                          </a:cubicBezTo>
                          <a:cubicBezTo>
                            <a:pt x="12" y="61"/>
                            <a:pt x="0" y="114"/>
                            <a:pt x="0" y="185"/>
                          </a:cubicBezTo>
                          <a:cubicBezTo>
                            <a:pt x="0" y="250"/>
                            <a:pt x="11" y="299"/>
                            <a:pt x="35" y="333"/>
                          </a:cubicBezTo>
                          <a:cubicBezTo>
                            <a:pt x="42" y="343"/>
                            <a:pt x="49" y="351"/>
                            <a:pt x="57" y="358"/>
                          </a:cubicBezTo>
                          <a:cubicBezTo>
                            <a:pt x="57" y="0"/>
                            <a:pt x="57" y="0"/>
                            <a:pt x="57" y="0"/>
                          </a:cubicBezTo>
                          <a:cubicBezTo>
                            <a:pt x="50" y="7"/>
                            <a:pt x="43" y="15"/>
                            <a:pt x="36" y="25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1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2061278" y="5079752"/>
                      <a:ext cx="128909" cy="442983"/>
                    </a:xfrm>
                    <a:custGeom>
                      <a:avLst/>
                      <a:gdLst>
                        <a:gd name="T0" fmla="*/ 43 w 79"/>
                        <a:gd name="T1" fmla="*/ 138 h 270"/>
                        <a:gd name="T2" fmla="*/ 43 w 79"/>
                        <a:gd name="T3" fmla="*/ 138 h 270"/>
                        <a:gd name="T4" fmla="*/ 79 w 79"/>
                        <a:gd name="T5" fmla="*/ 35 h 270"/>
                        <a:gd name="T6" fmla="*/ 79 w 79"/>
                        <a:gd name="T7" fmla="*/ 0 h 270"/>
                        <a:gd name="T8" fmla="*/ 24 w 79"/>
                        <a:gd name="T9" fmla="*/ 35 h 270"/>
                        <a:gd name="T10" fmla="*/ 0 w 79"/>
                        <a:gd name="T11" fmla="*/ 140 h 270"/>
                        <a:gd name="T12" fmla="*/ 23 w 79"/>
                        <a:gd name="T13" fmla="*/ 237 h 270"/>
                        <a:gd name="T14" fmla="*/ 79 w 79"/>
                        <a:gd name="T15" fmla="*/ 270 h 270"/>
                        <a:gd name="T16" fmla="*/ 79 w 79"/>
                        <a:gd name="T17" fmla="*/ 235 h 270"/>
                        <a:gd name="T18" fmla="*/ 43 w 79"/>
                        <a:gd name="T19" fmla="*/ 138 h 2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9" h="270">
                          <a:moveTo>
                            <a:pt x="43" y="138"/>
                          </a:moveTo>
                          <a:cubicBezTo>
                            <a:pt x="43" y="138"/>
                            <a:pt x="43" y="138"/>
                            <a:pt x="43" y="138"/>
                          </a:cubicBezTo>
                          <a:cubicBezTo>
                            <a:pt x="43" y="77"/>
                            <a:pt x="55" y="43"/>
                            <a:pt x="79" y="35"/>
                          </a:cubicBezTo>
                          <a:cubicBezTo>
                            <a:pt x="79" y="0"/>
                            <a:pt x="79" y="0"/>
                            <a:pt x="79" y="0"/>
                          </a:cubicBezTo>
                          <a:cubicBezTo>
                            <a:pt x="56" y="3"/>
                            <a:pt x="37" y="15"/>
                            <a:pt x="24" y="35"/>
                          </a:cubicBezTo>
                          <a:cubicBezTo>
                            <a:pt x="8" y="59"/>
                            <a:pt x="0" y="94"/>
                            <a:pt x="0" y="140"/>
                          </a:cubicBezTo>
                          <a:cubicBezTo>
                            <a:pt x="0" y="182"/>
                            <a:pt x="7" y="215"/>
                            <a:pt x="23" y="237"/>
                          </a:cubicBezTo>
                          <a:cubicBezTo>
                            <a:pt x="37" y="257"/>
                            <a:pt x="55" y="268"/>
                            <a:pt x="79" y="270"/>
                          </a:cubicBezTo>
                          <a:cubicBezTo>
                            <a:pt x="79" y="235"/>
                            <a:pt x="79" y="235"/>
                            <a:pt x="79" y="235"/>
                          </a:cubicBezTo>
                          <a:cubicBezTo>
                            <a:pt x="55" y="228"/>
                            <a:pt x="43" y="196"/>
                            <a:pt x="43" y="138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7" name="Group 496"/>
                <p:cNvGrpSpPr/>
                <p:nvPr/>
              </p:nvGrpSpPr>
              <p:grpSpPr>
                <a:xfrm>
                  <a:off x="11137698" y="8144556"/>
                  <a:ext cx="792957" cy="454737"/>
                  <a:chOff x="11268654" y="5874852"/>
                  <a:chExt cx="475079" cy="272443"/>
                </a:xfrm>
              </p:grpSpPr>
              <p:grpSp>
                <p:nvGrpSpPr>
                  <p:cNvPr id="498" name="Group 497"/>
                  <p:cNvGrpSpPr/>
                  <p:nvPr/>
                </p:nvGrpSpPr>
                <p:grpSpPr>
                  <a:xfrm>
                    <a:off x="11527880" y="5875025"/>
                    <a:ext cx="215853" cy="265975"/>
                    <a:chOff x="11191876" y="6141629"/>
                    <a:chExt cx="215853" cy="265975"/>
                  </a:xfrm>
                </p:grpSpPr>
                <p:sp>
                  <p:nvSpPr>
                    <p:cNvPr id="513" name="Freeform 38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141629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7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5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7"/>
                            <a:pt x="16" y="37"/>
                          </a:cubicBezTo>
                          <a:cubicBezTo>
                            <a:pt x="20" y="37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4" name="Freeform 381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14162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3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4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5" name="Freeform 38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14162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7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5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7"/>
                            <a:pt x="16" y="37"/>
                          </a:cubicBezTo>
                          <a:cubicBezTo>
                            <a:pt x="20" y="37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6" name="Freeform 394"/>
                    <p:cNvSpPr>
                      <a:spLocks/>
                    </p:cNvSpPr>
                    <p:nvPr/>
                  </p:nvSpPr>
                  <p:spPr bwMode="auto">
                    <a:xfrm>
                      <a:off x="11377008" y="614162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0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0"/>
                            <a:pt x="10" y="10"/>
                            <a:pt x="10" y="10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3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5"/>
                            <a:pt x="5" y="4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7" name="Freeform 396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234599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8" name="Freeform 397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2345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5 h 44"/>
                        <a:gd name="T16" fmla="*/ 0 w 19"/>
                        <a:gd name="T17" fmla="*/ 7 h 44"/>
                        <a:gd name="T18" fmla="*/ 7 w 19"/>
                        <a:gd name="T19" fmla="*/ 4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2"/>
                            <a:pt x="7" y="12"/>
                          </a:cubicBezTo>
                          <a:cubicBezTo>
                            <a:pt x="7" y="13"/>
                            <a:pt x="6" y="13"/>
                            <a:pt x="5" y="13"/>
                          </a:cubicBezTo>
                          <a:cubicBezTo>
                            <a:pt x="4" y="14"/>
                            <a:pt x="3" y="14"/>
                            <a:pt x="3" y="14"/>
                          </a:cubicBezTo>
                          <a:cubicBezTo>
                            <a:pt x="2" y="14"/>
                            <a:pt x="1" y="15"/>
                            <a:pt x="0" y="15"/>
                          </a:cubicBezTo>
                          <a:cubicBezTo>
                            <a:pt x="0" y="7"/>
                            <a:pt x="0" y="7"/>
                            <a:pt x="0" y="7"/>
                          </a:cubicBezTo>
                          <a:cubicBezTo>
                            <a:pt x="2" y="6"/>
                            <a:pt x="5" y="5"/>
                            <a:pt x="7" y="4"/>
                          </a:cubicBezTo>
                          <a:cubicBezTo>
                            <a:pt x="9" y="3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9" name="Freeform 39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23459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0" name="Freeform 39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334845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1" name="Freeform 40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54126" y="6334845"/>
                      <a:ext cx="50123" cy="72759"/>
                    </a:xfrm>
                    <a:custGeom>
                      <a:avLst/>
                      <a:gdLst>
                        <a:gd name="T0" fmla="*/ 15 w 31"/>
                        <a:gd name="T1" fmla="*/ 45 h 45"/>
                        <a:gd name="T2" fmla="*/ 0 w 31"/>
                        <a:gd name="T3" fmla="*/ 23 h 45"/>
                        <a:gd name="T4" fmla="*/ 4 w 31"/>
                        <a:gd name="T5" fmla="*/ 6 h 45"/>
                        <a:gd name="T6" fmla="*/ 16 w 31"/>
                        <a:gd name="T7" fmla="*/ 0 h 45"/>
                        <a:gd name="T8" fmla="*/ 31 w 31"/>
                        <a:gd name="T9" fmla="*/ 22 h 45"/>
                        <a:gd name="T10" fmla="*/ 27 w 31"/>
                        <a:gd name="T11" fmla="*/ 39 h 45"/>
                        <a:gd name="T12" fmla="*/ 15 w 31"/>
                        <a:gd name="T13" fmla="*/ 45 h 45"/>
                        <a:gd name="T14" fmla="*/ 16 w 31"/>
                        <a:gd name="T15" fmla="*/ 8 h 45"/>
                        <a:gd name="T16" fmla="*/ 9 w 31"/>
                        <a:gd name="T17" fmla="*/ 23 h 45"/>
                        <a:gd name="T18" fmla="*/ 15 w 31"/>
                        <a:gd name="T19" fmla="*/ 38 h 45"/>
                        <a:gd name="T20" fmla="*/ 21 w 31"/>
                        <a:gd name="T21" fmla="*/ 23 h 45"/>
                        <a:gd name="T22" fmla="*/ 16 w 31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1" h="45">
                          <a:moveTo>
                            <a:pt x="15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1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6" y="0"/>
                            <a:pt x="31" y="8"/>
                            <a:pt x="31" y="22"/>
                          </a:cubicBezTo>
                          <a:cubicBezTo>
                            <a:pt x="31" y="30"/>
                            <a:pt x="30" y="35"/>
                            <a:pt x="27" y="39"/>
                          </a:cubicBezTo>
                          <a:cubicBezTo>
                            <a:pt x="24" y="43"/>
                            <a:pt x="20" y="45"/>
                            <a:pt x="15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1" y="8"/>
                            <a:pt x="9" y="13"/>
                            <a:pt x="9" y="23"/>
                          </a:cubicBezTo>
                          <a:cubicBezTo>
                            <a:pt x="9" y="33"/>
                            <a:pt x="11" y="38"/>
                            <a:pt x="15" y="38"/>
                          </a:cubicBezTo>
                          <a:cubicBezTo>
                            <a:pt x="19" y="38"/>
                            <a:pt x="21" y="33"/>
                            <a:pt x="21" y="23"/>
                          </a:cubicBezTo>
                          <a:cubicBezTo>
                            <a:pt x="21" y="13"/>
                            <a:pt x="19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499" name="Group 498"/>
                  <p:cNvGrpSpPr/>
                  <p:nvPr/>
                </p:nvGrpSpPr>
                <p:grpSpPr>
                  <a:xfrm>
                    <a:off x="11268654" y="5874852"/>
                    <a:ext cx="469471" cy="272443"/>
                    <a:chOff x="11254126" y="5843315"/>
                    <a:chExt cx="469471" cy="272443"/>
                  </a:xfrm>
                </p:grpSpPr>
                <p:sp>
                  <p:nvSpPr>
                    <p:cNvPr id="500" name="Freeform 378"/>
                    <p:cNvSpPr>
                      <a:spLocks/>
                    </p:cNvSpPr>
                    <p:nvPr/>
                  </p:nvSpPr>
                  <p:spPr bwMode="auto">
                    <a:xfrm>
                      <a:off x="11260593" y="5843315"/>
                      <a:ext cx="30721" cy="70334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1" name="Freeform 37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5843315"/>
                      <a:ext cx="51740" cy="71951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2" name="Freeform 38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54126" y="5942753"/>
                      <a:ext cx="50123" cy="72759"/>
                    </a:xfrm>
                    <a:custGeom>
                      <a:avLst/>
                      <a:gdLst>
                        <a:gd name="T0" fmla="*/ 15 w 31"/>
                        <a:gd name="T1" fmla="*/ 45 h 45"/>
                        <a:gd name="T2" fmla="*/ 0 w 31"/>
                        <a:gd name="T3" fmla="*/ 23 h 45"/>
                        <a:gd name="T4" fmla="*/ 4 w 31"/>
                        <a:gd name="T5" fmla="*/ 6 h 45"/>
                        <a:gd name="T6" fmla="*/ 16 w 31"/>
                        <a:gd name="T7" fmla="*/ 0 h 45"/>
                        <a:gd name="T8" fmla="*/ 31 w 31"/>
                        <a:gd name="T9" fmla="*/ 22 h 45"/>
                        <a:gd name="T10" fmla="*/ 27 w 31"/>
                        <a:gd name="T11" fmla="*/ 39 h 45"/>
                        <a:gd name="T12" fmla="*/ 15 w 31"/>
                        <a:gd name="T13" fmla="*/ 45 h 45"/>
                        <a:gd name="T14" fmla="*/ 16 w 31"/>
                        <a:gd name="T15" fmla="*/ 7 h 45"/>
                        <a:gd name="T16" fmla="*/ 9 w 31"/>
                        <a:gd name="T17" fmla="*/ 23 h 45"/>
                        <a:gd name="T18" fmla="*/ 15 w 31"/>
                        <a:gd name="T19" fmla="*/ 38 h 45"/>
                        <a:gd name="T20" fmla="*/ 21 w 31"/>
                        <a:gd name="T21" fmla="*/ 22 h 45"/>
                        <a:gd name="T22" fmla="*/ 16 w 31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1" h="45">
                          <a:moveTo>
                            <a:pt x="15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1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6" y="0"/>
                            <a:pt x="31" y="7"/>
                            <a:pt x="31" y="22"/>
                          </a:cubicBezTo>
                          <a:cubicBezTo>
                            <a:pt x="31" y="29"/>
                            <a:pt x="30" y="35"/>
                            <a:pt x="27" y="39"/>
                          </a:cubicBezTo>
                          <a:cubicBezTo>
                            <a:pt x="24" y="43"/>
                            <a:pt x="20" y="45"/>
                            <a:pt x="15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1" y="7"/>
                            <a:pt x="9" y="12"/>
                            <a:pt x="9" y="23"/>
                          </a:cubicBezTo>
                          <a:cubicBezTo>
                            <a:pt x="9" y="33"/>
                            <a:pt x="11" y="38"/>
                            <a:pt x="15" y="38"/>
                          </a:cubicBezTo>
                          <a:cubicBezTo>
                            <a:pt x="19" y="38"/>
                            <a:pt x="21" y="33"/>
                            <a:pt x="21" y="22"/>
                          </a:cubicBezTo>
                          <a:cubicBezTo>
                            <a:pt x="21" y="12"/>
                            <a:pt x="19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3" name="Freeform 385"/>
                    <p:cNvSpPr>
                      <a:spLocks/>
                    </p:cNvSpPr>
                    <p:nvPr/>
                  </p:nvSpPr>
                  <p:spPr bwMode="auto">
                    <a:xfrm>
                      <a:off x="11318801" y="5942753"/>
                      <a:ext cx="29104" cy="71142"/>
                    </a:xfrm>
                    <a:custGeom>
                      <a:avLst/>
                      <a:gdLst>
                        <a:gd name="T0" fmla="*/ 18 w 18"/>
                        <a:gd name="T1" fmla="*/ 0 h 44"/>
                        <a:gd name="T2" fmla="*/ 18 w 18"/>
                        <a:gd name="T3" fmla="*/ 44 h 44"/>
                        <a:gd name="T4" fmla="*/ 9 w 18"/>
                        <a:gd name="T5" fmla="*/ 44 h 44"/>
                        <a:gd name="T6" fmla="*/ 9 w 18"/>
                        <a:gd name="T7" fmla="*/ 11 h 44"/>
                        <a:gd name="T8" fmla="*/ 7 w 18"/>
                        <a:gd name="T9" fmla="*/ 12 h 44"/>
                        <a:gd name="T10" fmla="*/ 5 w 18"/>
                        <a:gd name="T11" fmla="*/ 13 h 44"/>
                        <a:gd name="T12" fmla="*/ 2 w 18"/>
                        <a:gd name="T13" fmla="*/ 14 h 44"/>
                        <a:gd name="T14" fmla="*/ 0 w 18"/>
                        <a:gd name="T15" fmla="*/ 14 h 44"/>
                        <a:gd name="T16" fmla="*/ 0 w 18"/>
                        <a:gd name="T17" fmla="*/ 6 h 44"/>
                        <a:gd name="T18" fmla="*/ 7 w 18"/>
                        <a:gd name="T19" fmla="*/ 3 h 44"/>
                        <a:gd name="T20" fmla="*/ 13 w 18"/>
                        <a:gd name="T21" fmla="*/ 0 h 44"/>
                        <a:gd name="T22" fmla="*/ 18 w 18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8" h="44">
                          <a:moveTo>
                            <a:pt x="18" y="0"/>
                          </a:moveTo>
                          <a:cubicBezTo>
                            <a:pt x="18" y="44"/>
                            <a:pt x="18" y="44"/>
                            <a:pt x="18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8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2" y="14"/>
                          </a:cubicBezTo>
                          <a:cubicBezTo>
                            <a:pt x="1" y="14"/>
                            <a:pt x="0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4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8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4" name="Freeform 387"/>
                    <p:cNvSpPr>
                      <a:spLocks/>
                    </p:cNvSpPr>
                    <p:nvPr/>
                  </p:nvSpPr>
                  <p:spPr bwMode="auto">
                    <a:xfrm>
                      <a:off x="11692876" y="593130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2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3"/>
                            <a:pt x="2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5" name="Freeform 38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431982" y="5843315"/>
                      <a:ext cx="51740" cy="71951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6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2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1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6" name="Freeform 38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431982" y="5942753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6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2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1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7" name="Freeform 390"/>
                    <p:cNvSpPr>
                      <a:spLocks/>
                    </p:cNvSpPr>
                    <p:nvPr/>
                  </p:nvSpPr>
                  <p:spPr bwMode="auto">
                    <a:xfrm>
                      <a:off x="11440066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2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2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8" name="Freeform 391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9" name="Freeform 393"/>
                    <p:cNvSpPr>
                      <a:spLocks/>
                    </p:cNvSpPr>
                    <p:nvPr/>
                  </p:nvSpPr>
                  <p:spPr bwMode="auto">
                    <a:xfrm>
                      <a:off x="11377008" y="5843315"/>
                      <a:ext cx="30721" cy="70334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0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0"/>
                            <a:pt x="10" y="10"/>
                            <a:pt x="10" y="10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5"/>
                            <a:pt x="5" y="5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0" name="Freeform 3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70541" y="5942753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6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1" name="Freeform 401"/>
                    <p:cNvSpPr>
                      <a:spLocks/>
                    </p:cNvSpPr>
                    <p:nvPr/>
                  </p:nvSpPr>
                  <p:spPr bwMode="auto">
                    <a:xfrm>
                      <a:off x="11377008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1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1"/>
                            <a:pt x="10" y="11"/>
                            <a:pt x="10" y="11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6"/>
                            <a:pt x="5" y="5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2" name="Freeform 40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04299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</p:grpSp>
        <p:sp>
          <p:nvSpPr>
            <p:cNvPr id="488" name="TextBox 487"/>
            <p:cNvSpPr txBox="1"/>
            <p:nvPr/>
          </p:nvSpPr>
          <p:spPr>
            <a:xfrm>
              <a:off x="157604" y="-47264"/>
              <a:ext cx="2069225" cy="914399"/>
            </a:xfrm>
            <a:prstGeom prst="rect">
              <a:avLst/>
            </a:prstGeom>
          </p:spPr>
          <p:txBody>
            <a:bodyPr vert="horz" wrap="none" lIns="91416" tIns="91416" rIns="91416" bIns="91416" rtlCol="0" anchor="t">
              <a:noAutofit/>
            </a:bodyPr>
            <a:lstStyle/>
            <a:p>
              <a:pPr marL="0" marR="0" lvl="0" indent="0" defTabSz="9141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</p:grpSp>
      <p:pic>
        <p:nvPicPr>
          <p:cNvPr id="3" name="Graphic 2" descr="Beer with solid fill">
            <a:extLst>
              <a:ext uri="{FF2B5EF4-FFF2-40B4-BE49-F238E27FC236}">
                <a16:creationId xmlns="" xmlns:a16="http://schemas.microsoft.com/office/drawing/2014/main" id="{18547EE9-BAC4-45C8-8473-37B57F7B16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88147" y="4700688"/>
            <a:ext cx="914400" cy="914400"/>
          </a:xfrm>
          <a:prstGeom prst="rect">
            <a:avLst/>
          </a:prstGeom>
        </p:spPr>
      </p:pic>
      <p:pic>
        <p:nvPicPr>
          <p:cNvPr id="46082" name="Picture 2" descr="Image result for budweiser logo">
            <a:extLst>
              <a:ext uri="{FF2B5EF4-FFF2-40B4-BE49-F238E27FC236}">
                <a16:creationId xmlns="" xmlns:a16="http://schemas.microsoft.com/office/drawing/2014/main" id="{BDC809BD-25EE-438A-9865-830D852E5D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14" y="-219642"/>
            <a:ext cx="1342702" cy="1342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832922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Executive Summar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42886" y="1897813"/>
            <a:ext cx="10239022" cy="2154436"/>
          </a:xfrm>
          <a:prstGeom prst="rect">
            <a:avLst/>
          </a:prstGeom>
          <a:blipFill dpi="0" rotWithShape="1">
            <a:blip r:embed="rId4">
              <a:alphaModFix amt="6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pPr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Key Notes on provided Beer and Brewery Data Sets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The </a:t>
            </a:r>
            <a:r>
              <a:rPr lang="en-US" sz="1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Breweries listed are all US </a:t>
            </a:r>
            <a:r>
              <a:rPr lang="en-US" sz="14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Breweries and all Beers listed are Craft Beers</a:t>
            </a:r>
            <a:endParaRPr lang="en-US" sz="140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data references 51 states (Washington D.C</a:t>
            </a:r>
            <a:r>
              <a:rPr lang="en-US" sz="14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. included as a ‘state’)</a:t>
            </a:r>
          </a:p>
          <a:p>
            <a:pPr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High level findings on the broader US Brewery and Craft Beer Market from public data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U.S</a:t>
            </a: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. beer volume sales down 2% in 2019, while craft brewer sales continued to grow at rate of 4% by volume</a:t>
            </a:r>
            <a:r>
              <a:rPr lang="en-US" sz="1400" kern="0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400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marL="457200" lvl="2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raft brewer sales reached 13.6% of the U.S. beer market by </a:t>
            </a:r>
            <a:r>
              <a:rPr lang="en-US" sz="1400" kern="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volume</a:t>
            </a:r>
            <a:r>
              <a:rPr lang="en-US" sz="1400" kern="0" baseline="300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400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5CD49C15-7C2D-4886-AA5D-5C4A3F045E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750" y="4577508"/>
            <a:ext cx="8609802" cy="176336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39144" y="4196308"/>
            <a:ext cx="3185196" cy="338554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Historical U.S. Brewery </a:t>
            </a:r>
            <a:r>
              <a:rPr lang="en-US" sz="16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Count</a:t>
            </a:r>
            <a:r>
              <a:rPr lang="en-US" sz="1600" b="1" baseline="300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600" b="1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9965" y="6396335"/>
            <a:ext cx="10228612" cy="276999"/>
          </a:xfrm>
          <a:prstGeom prst="rect">
            <a:avLst/>
          </a:prstGeom>
          <a:blipFill dpi="0" rotWithShape="1">
            <a:blip r:embed="rId4">
              <a:alphaModFix amt="6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r>
              <a:rPr lang="en-US" sz="1200" baseline="30000" dirty="0">
                <a:solidFill>
                  <a:schemeClr val="bg1"/>
                </a:solidFill>
              </a:rPr>
              <a:t>1</a:t>
            </a:r>
            <a:r>
              <a:rPr lang="en-US" sz="1200" dirty="0">
                <a:solidFill>
                  <a:schemeClr val="bg1"/>
                </a:solidFill>
              </a:rPr>
              <a:t>https://</a:t>
            </a:r>
            <a:r>
              <a:rPr lang="en-US" sz="1200" dirty="0" err="1">
                <a:solidFill>
                  <a:schemeClr val="bg1"/>
                </a:solidFill>
              </a:rPr>
              <a:t>www.brewersassociation.org</a:t>
            </a:r>
            <a:r>
              <a:rPr lang="en-US" sz="1200" dirty="0">
                <a:solidFill>
                  <a:schemeClr val="bg1"/>
                </a:solidFill>
              </a:rPr>
              <a:t>/statistics-and-data/national-beer-stats/#:~:text=Summary,grew%20the%20most%20for%20taprooms</a:t>
            </a:r>
            <a:r>
              <a:rPr lang="en-US" sz="1200" dirty="0" smtClean="0">
                <a:solidFill>
                  <a:schemeClr val="bg1"/>
                </a:solidFill>
              </a:rPr>
              <a:t>.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7481538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Breweries by the Number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39491" y="1806422"/>
            <a:ext cx="8431532" cy="130805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558 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otal Breweries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listed in the Breweries data set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Top 25% of states contain over 60% of the Breweries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CO and CA have the most Breweries in total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466739"/>
            <a:ext cx="12192000" cy="3391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409193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nalyzing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Missing Value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5322" y="2376700"/>
            <a:ext cx="4934052" cy="2123658"/>
          </a:xfrm>
          <a:prstGeom prst="rect">
            <a:avLst/>
          </a:prstGeom>
          <a:blipFill dpi="0" rotWithShape="1">
            <a:blip r:embed="rId4">
              <a:alphaModFix amt="6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No </a:t>
            </a: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NA values in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Breweries </a:t>
            </a: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data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set</a:t>
            </a:r>
            <a:endParaRPr lang="en-US" sz="1600" dirty="0">
              <a:solidFill>
                <a:srgbClr val="000000">
                  <a:lumMod val="95000"/>
                  <a:lumOff val="5000"/>
                </a:srgbClr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Merged data sets produce a combined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1067 NA values (all </a:t>
            </a: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of which are found in the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Beer </a:t>
            </a: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data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set)</a:t>
            </a:r>
            <a:endParaRPr lang="en-US" sz="1600" dirty="0">
              <a:solidFill>
                <a:srgbClr val="000000">
                  <a:lumMod val="95000"/>
                  <a:lumOff val="5000"/>
                </a:srgbClr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1005 NA values are from the IBU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column</a:t>
            </a:r>
            <a:endParaRPr lang="en-US" sz="1600" dirty="0">
              <a:solidFill>
                <a:srgbClr val="000000">
                  <a:lumMod val="95000"/>
                  <a:lumOff val="5000"/>
                </a:srgbClr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62 NA values are from the ABV colum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6791" y="1801319"/>
            <a:ext cx="6773968" cy="4757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490348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-10411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edian ABV by Stat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236614"/>
            <a:ext cx="12192000" cy="362138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08263" y="1879293"/>
            <a:ext cx="7151177" cy="1308050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</a:rPr>
              <a:t>DC </a:t>
            </a:r>
            <a:r>
              <a:rPr lang="en-US" sz="1600" dirty="0" smtClean="0">
                <a:solidFill>
                  <a:srgbClr val="000000"/>
                </a:solidFill>
              </a:rPr>
              <a:t>and KY are tied for the highest ABV at 6.25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UT </a:t>
            </a:r>
            <a:r>
              <a:rPr lang="en-US" sz="1600" dirty="0">
                <a:solidFill>
                  <a:srgbClr val="000000"/>
                </a:solidFill>
              </a:rPr>
              <a:t>has the lowest median </a:t>
            </a:r>
            <a:r>
              <a:rPr lang="en-US" sz="1600" dirty="0" smtClean="0">
                <a:solidFill>
                  <a:srgbClr val="000000"/>
                </a:solidFill>
              </a:rPr>
              <a:t>ABV by a significant margin at 4.00</a:t>
            </a:r>
            <a:r>
              <a:rPr lang="en-US" sz="1600" dirty="0" smtClean="0">
                <a:solidFill>
                  <a:srgbClr val="000000"/>
                </a:solidFill>
              </a:rPr>
              <a:t>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84% of states have a median ABV between 5% - 6% (inclusive)</a:t>
            </a: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409943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edian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IBU by State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3349" y="1691900"/>
            <a:ext cx="8317029" cy="130805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 has the highest median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WI has the lowest median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SD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has 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no IBU data in the provided data sets (shown without bar below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104624"/>
            <a:ext cx="12192000" cy="3753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585854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aximum Values and ABV Distribution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1838" y="1561594"/>
            <a:ext cx="6274783" cy="529640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2866" y="2314338"/>
            <a:ext cx="5558615" cy="3831818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aximum Value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Oregon’s Bitter Bitch Imperial IPA has the highest IBU of 138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olorado’s Lee Hill Series Vol. 5- Belgian Style </a:t>
            </a:r>
            <a:r>
              <a:rPr lang="en-US" sz="1600" dirty="0" err="1">
                <a:solidFill>
                  <a:schemeClr val="bg1">
                    <a:lumMod val="95000"/>
                    <a:lumOff val="5000"/>
                  </a:schemeClr>
                </a:solidFill>
              </a:rPr>
              <a:t>Quadrupel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 Ale has the highest ABV at 12.8%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BV Distribution 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box plot is slightly right skewed which signifies higher dispersion in ABV in Q3 and Q4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dian ABV amongst all analyzed beers is 5.6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re are significantly more outliers at the higher end of ABV than the lower end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Small subset of ABV outliers in top quartile hovering at or just below 10% ABV</a:t>
            </a:r>
          </a:p>
        </p:txBody>
      </p:sp>
    </p:spTree>
    <p:extLst>
      <p:ext uri="{BB962C8B-B14F-4D97-AF65-F5344CB8AC3E}">
        <p14:creationId xmlns:p14="http://schemas.microsoft.com/office/powerpoint/2010/main" val="664125368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BV to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IBU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Relationship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2488900"/>
            <a:ext cx="4413582" cy="3031599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As ABV increases (x-axis), </a:t>
            </a:r>
            <a:r>
              <a:rPr lang="en-US" sz="1600" dirty="0">
                <a:solidFill>
                  <a:srgbClr val="000000"/>
                </a:solidFill>
              </a:rPr>
              <a:t>the IBU </a:t>
            </a:r>
            <a:r>
              <a:rPr lang="en-US" sz="1600" dirty="0" smtClean="0">
                <a:solidFill>
                  <a:srgbClr val="000000"/>
                </a:solidFill>
              </a:rPr>
              <a:t>value (y-axis) also tends to </a:t>
            </a:r>
            <a:r>
              <a:rPr lang="en-US" sz="1600" dirty="0" smtClean="0">
                <a:solidFill>
                  <a:srgbClr val="000000"/>
                </a:solidFill>
              </a:rPr>
              <a:t>increase </a:t>
            </a:r>
            <a:r>
              <a:rPr lang="en-US" sz="1600" dirty="0" smtClean="0">
                <a:solidFill>
                  <a:srgbClr val="000000"/>
                </a:solidFill>
              </a:rPr>
              <a:t>showing </a:t>
            </a:r>
            <a:r>
              <a:rPr lang="en-US" sz="1600" dirty="0" smtClean="0">
                <a:solidFill>
                  <a:srgbClr val="000000"/>
                </a:solidFill>
              </a:rPr>
              <a:t>a moderate relationship (R = 0.67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45% of the variability in IBU can be explained by ABV (and vice versa)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Further investigation into </a:t>
            </a:r>
            <a:r>
              <a:rPr lang="en-US" sz="1600" dirty="0" smtClean="0">
                <a:solidFill>
                  <a:srgbClr val="000000"/>
                </a:solidFill>
              </a:rPr>
              <a:t>to the effect of Style on ABV and IBU variables would likely improve prediction capability</a:t>
            </a: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0778" y="2035638"/>
            <a:ext cx="7341222" cy="4303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745009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602348" y="2945886"/>
            <a:ext cx="6651602" cy="156966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THANK YOU!</a:t>
            </a:r>
          </a:p>
          <a:p>
            <a:pPr algn="ctr"/>
            <a:endParaRPr lang="en-US" sz="3200" b="1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algn="ctr"/>
            <a:r>
              <a:rPr lang="en-US" sz="32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ARE THERE ANY QUESTIONS?</a:t>
            </a:r>
            <a:endParaRPr lang="en-US" sz="32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13502"/>
      </p:ext>
    </p:extLst>
  </p:cSld>
  <p:clrMapOvr>
    <a:masterClrMapping/>
  </p:clrMapOvr>
  <p:transition xmlns:p14="http://schemas.microsoft.com/office/powerpoint/2010/main" spd="slow">
    <p:cover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HuJ9aGp0eKlNQhVarz5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2qzRu0kWUgQ1PvJ9J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MiwAqcU0KwYu97qUEj7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bXQ8vvqEqk7DvYxgaG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uGUFg2NEWFV0d0uAoxZ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Gmkoeg8km6sdkwNan2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rl7dyKJUy.5RAwoOiS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ukXnggMEOo2B2TKZNS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Services_theme_16x9_073012">
  <a:themeElements>
    <a:clrScheme name="Custom 7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93BEFF"/>
      </a:hlink>
      <a:folHlink>
        <a:srgbClr val="93BEFF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ervices_theme_16x9_073012">
  <a:themeElements>
    <a:clrScheme name="Custom 7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93BEFF"/>
      </a:hlink>
      <a:folHlink>
        <a:srgbClr val="93BEFF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PRISM15_Track_Session_Template">
  <a:themeElements>
    <a:clrScheme name="PRISM FY15">
      <a:dk1>
        <a:srgbClr val="1E1E1E"/>
      </a:dk1>
      <a:lt1>
        <a:srgbClr val="FFFFFF"/>
      </a:lt1>
      <a:dk2>
        <a:srgbClr val="00188F"/>
      </a:dk2>
      <a:lt2>
        <a:srgbClr val="D2D2D2"/>
      </a:lt2>
      <a:accent1>
        <a:srgbClr val="00188F"/>
      </a:accent1>
      <a:accent2>
        <a:srgbClr val="BAD80A"/>
      </a:accent2>
      <a:accent3>
        <a:srgbClr val="008A00"/>
      </a:accent3>
      <a:accent4>
        <a:srgbClr val="EC008C"/>
      </a:accent4>
      <a:accent5>
        <a:srgbClr val="FFF100"/>
      </a:accent5>
      <a:accent6>
        <a:srgbClr val="B4009E"/>
      </a:accent6>
      <a:hlink>
        <a:srgbClr val="008272"/>
      </a:hlink>
      <a:folHlink>
        <a:srgbClr val="0082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 smtClean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ISM15_Track_Session_Template [Read-Only]" id="{3B324823-0D76-4CE1-86F1-EFEE3656C6BD}" vid="{B958A460-C52C-4424-AA32-5292AF0B5F41}"/>
    </a:ext>
  </a:extLst>
</a:theme>
</file>

<file path=ppt/theme/theme4.xml><?xml version="1.0" encoding="utf-8"?>
<a:theme xmlns:a="http://schemas.openxmlformats.org/drawingml/2006/main" name="2_FY15 Enterprise identity theme">
  <a:themeElements>
    <a:clrScheme name="FY15 Enterprise Visual Identity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S_x0020_Sales_x0020_TPID xmlns="ac1621bc-13cc-436e-9a47-b5b6ce71ef16" xsi:nil="true"/>
    <Area xmlns="ac1621bc-13cc-436e-9a47-b5b6ce71ef16">APAC</Area>
    <Account_x0020_Name xmlns="ac1621bc-13cc-436e-9a47-b5b6ce71ef16">Carlsberg</Account_x0020_Name>
    <Industry xmlns="ac1621bc-13cc-436e-9a47-b5b6ce71ef16">Others</Industry>
    <Customer_x0020_Specific xmlns="ac1621bc-13cc-436e-9a47-b5b6ce71ef16">Yes</Customer_x0020_Specific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A63CD574ECE841BBA935C9DD74B47E" ma:contentTypeVersion="17" ma:contentTypeDescription="Create a new document." ma:contentTypeScope="" ma:versionID="870966cccd05e688c1fd83b44561209d">
  <xsd:schema xmlns:xsd="http://www.w3.org/2001/XMLSchema" xmlns:xs="http://www.w3.org/2001/XMLSchema" xmlns:p="http://schemas.microsoft.com/office/2006/metadata/properties" xmlns:ns1="http://schemas.microsoft.com/sharepoint/v3" xmlns:ns2="ac1621bc-13cc-436e-9a47-b5b6ce71ef16" xmlns:ns3="f17c353e-4bd7-425e-87a9-d98cbd787a81" xmlns:ns4="c4847b7a-a70f-42c3-93b8-3a88b9071633" targetNamespace="http://schemas.microsoft.com/office/2006/metadata/properties" ma:root="true" ma:fieldsID="75af4374a52543b7ad98469b89978326" ns1:_="" ns2:_="" ns3:_="" ns4:_="">
    <xsd:import namespace="http://schemas.microsoft.com/sharepoint/v3"/>
    <xsd:import namespace="ac1621bc-13cc-436e-9a47-b5b6ce71ef16"/>
    <xsd:import namespace="f17c353e-4bd7-425e-87a9-d98cbd787a81"/>
    <xsd:import namespace="c4847b7a-a70f-42c3-93b8-3a88b9071633"/>
    <xsd:element name="properties">
      <xsd:complexType>
        <xsd:sequence>
          <xsd:element name="documentManagement">
            <xsd:complexType>
              <xsd:all>
                <xsd:element ref="ns2:Account_x0020_Name" minOccurs="0"/>
                <xsd:element ref="ns2:MS_x0020_Sales_x0020_TPID" minOccurs="0"/>
                <xsd:element ref="ns2:Area" minOccurs="0"/>
                <xsd:element ref="ns2:Industry" minOccurs="0"/>
                <xsd:element ref="ns2:Customer_x0020_Specific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4:MediaServiceEventHashCode" minOccurs="0"/>
                <xsd:element ref="ns4:MediaServiceGenerationTim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1621bc-13cc-436e-9a47-b5b6ce71ef16" elementFormDefault="qualified">
    <xsd:import namespace="http://schemas.microsoft.com/office/2006/documentManagement/types"/>
    <xsd:import namespace="http://schemas.microsoft.com/office/infopath/2007/PartnerControls"/>
    <xsd:element name="Account_x0020_Name" ma:index="8" nillable="true" ma:displayName="Account Name" ma:internalName="Account_x0020_Name">
      <xsd:simpleType>
        <xsd:restriction base="dms:Text">
          <xsd:maxLength value="255"/>
        </xsd:restriction>
      </xsd:simpleType>
    </xsd:element>
    <xsd:element name="MS_x0020_Sales_x0020_TPID" ma:index="9" nillable="true" ma:displayName="MS Sales TPID" ma:internalName="MS_x0020_Sales_x0020_TPID">
      <xsd:simpleType>
        <xsd:restriction base="dms:Text">
          <xsd:maxLength value="255"/>
        </xsd:restriction>
      </xsd:simpleType>
    </xsd:element>
    <xsd:element name="Area" ma:index="10" nillable="true" ma:displayName="Area" ma:default="APAC" ma:format="Dropdown" ma:internalName="Area">
      <xsd:simpleType>
        <xsd:restriction base="dms:Choice">
          <xsd:enumeration value="APAC"/>
          <xsd:enumeration value="Australia"/>
          <xsd:enumeration value="Canada"/>
          <xsd:enumeration value="CEE"/>
          <xsd:enumeration value="Corp"/>
          <xsd:enumeration value="France"/>
          <xsd:enumeration value="GCR"/>
          <xsd:enumeration value="Germany"/>
          <xsd:enumeration value="India"/>
          <xsd:enumeration value="Japan"/>
          <xsd:enumeration value="LATAM"/>
          <xsd:enumeration value="MEA"/>
          <xsd:enumeration value="UK"/>
          <xsd:enumeration value="United States"/>
          <xsd:enumeration value="WE"/>
        </xsd:restriction>
      </xsd:simpleType>
    </xsd:element>
    <xsd:element name="Industry" ma:index="11" nillable="true" ma:displayName="Industry" ma:default="Automobile" ma:format="Dropdown" ma:internalName="Industry">
      <xsd:simpleType>
        <xsd:restriction base="dms:Choice">
          <xsd:enumeration value="Automobile"/>
          <xsd:enumeration value="Banking"/>
          <xsd:enumeration value="Communications"/>
          <xsd:enumeration value="Consumer Packaged Goods"/>
          <xsd:enumeration value="Energy / Metals / Mining"/>
          <xsd:enumeration value="Financial Services"/>
          <xsd:enumeration value="Food"/>
          <xsd:enumeration value="Health"/>
          <xsd:enumeration value="High Tech"/>
          <xsd:enumeration value="Insurance"/>
          <xsd:enumeration value="Manufacturing"/>
          <xsd:enumeration value="Pharma / Biotech"/>
          <xsd:enumeration value="Professional Services"/>
          <xsd:enumeration value="Public / Nonprofit"/>
          <xsd:enumeration value="Retail"/>
          <xsd:enumeration value="Transportation"/>
          <xsd:enumeration value="Utilities"/>
          <xsd:enumeration value="Other"/>
        </xsd:restriction>
      </xsd:simpleType>
    </xsd:element>
    <xsd:element name="Customer_x0020_Specific" ma:index="12" nillable="true" ma:displayName="Customer Specific" ma:default="Yes" ma:format="Dropdown" ma:internalName="Customer_x0020_Specific">
      <xsd:simpleType>
        <xsd:restriction base="dms:Choice">
          <xsd:enumeration value="Yes"/>
          <xsd:enumeration value="No"/>
        </xsd:restriction>
      </xsd:simple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7c353e-4bd7-425e-87a9-d98cbd787a8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7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8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847b7a-a70f-42c3-93b8-3a88b9071633" elementFormDefault="qualified">
    <xsd:import namespace="http://schemas.microsoft.com/office/2006/documentManagement/types"/>
    <xsd:import namespace="http://schemas.microsoft.com/office/infopath/2007/PartnerControls"/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266B8A1-C469-4C55-8929-6B355432476C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c32e6e27-253b-4b17-ab21-3a602d34e9d1"/>
    <ds:schemaRef ds:uri="bf65c636-9c45-46ee-9f30-28382b88ee0b"/>
    <ds:schemaRef ds:uri="http://www.w3.org/XML/1998/namespace"/>
    <ds:schemaRef ds:uri="http://purl.org/dc/dcmitype/"/>
    <ds:schemaRef ds:uri="ac1621bc-13cc-436e-9a47-b5b6ce71ef16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18CD81BA-D48C-4FB0-B39E-5C8CB5E74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47739B-4662-456B-9538-7A5B5EB427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c1621bc-13cc-436e-9a47-b5b6ce71ef16"/>
    <ds:schemaRef ds:uri="f17c353e-4bd7-425e-87a9-d98cbd787a81"/>
    <ds:schemaRef ds:uri="c4847b7a-a70f-42c3-93b8-3a88b90716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1248</TotalTime>
  <Words>501</Words>
  <Application>Microsoft Macintosh PowerPoint</Application>
  <PresentationFormat>Custom</PresentationFormat>
  <Paragraphs>59</Paragraphs>
  <Slides>9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2_Services_theme_16x9_073012</vt:lpstr>
      <vt:lpstr>Services_theme_16x9_073012</vt:lpstr>
      <vt:lpstr>1_PRISM15_Track_Session_Template</vt:lpstr>
      <vt:lpstr>2_FY15 Enterprise identity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lsberg</dc:title>
  <dc:creator>Kalpesh Kothari</dc:creator>
  <cp:lastModifiedBy>Cameron</cp:lastModifiedBy>
  <cp:revision>533</cp:revision>
  <dcterms:created xsi:type="dcterms:W3CDTF">2016-12-21T17:46:59Z</dcterms:created>
  <dcterms:modified xsi:type="dcterms:W3CDTF">2021-02-23T19:05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A63CD574ECE841BBA935C9DD74B47E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Ref">
    <vt:lpwstr>https://api.informationprotection.azure.com/api/72f988bf-86f1-41af-91ab-2d7cd011db47</vt:lpwstr>
  </property>
  <property fmtid="{D5CDD505-2E9C-101B-9397-08002B2CF9AE}" pid="6" name="MSIP_Label_f42aa342-8706-4288-bd11-ebb85995028c_SetBy">
    <vt:lpwstr>kkothari@microsoft.com</vt:lpwstr>
  </property>
  <property fmtid="{D5CDD505-2E9C-101B-9397-08002B2CF9AE}" pid="7" name="MSIP_Label_f42aa342-8706-4288-bd11-ebb85995028c_SetDate">
    <vt:lpwstr>2017-06-21T15:00:57.0747344+05:30</vt:lpwstr>
  </property>
  <property fmtid="{D5CDD505-2E9C-101B-9397-08002B2CF9AE}" pid="8" name="MSIP_Label_f42aa342-8706-4288-bd11-ebb85995028c_Name">
    <vt:lpwstr>General</vt:lpwstr>
  </property>
  <property fmtid="{D5CDD505-2E9C-101B-9397-08002B2CF9AE}" pid="9" name="MSIP_Label_f42aa342-8706-4288-bd11-ebb85995028c_Application">
    <vt:lpwstr>Microsoft Azure Information Protection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  <property fmtid="{D5CDD505-2E9C-101B-9397-08002B2CF9AE}" pid="12" name="Account Name">
    <vt:lpwstr>Carlsberg</vt:lpwstr>
  </property>
  <property fmtid="{D5CDD505-2E9C-101B-9397-08002B2CF9AE}" pid="13" name="Industry">
    <vt:lpwstr>Others</vt:lpwstr>
  </property>
</Properties>
</file>